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0F823989-494C-4843-983B-53437C230E07}">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5190AF5F-5FAF-45D0-A847-0E22A81150D9}">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526CBA3E-8489-4B2B-9A09-5154C2F77F0D}">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 name="Sector Price Point Distribution Analysis P12M" id="{170DD3CF-7641-477E-8D21-3E20AA42863E}">
          <p14:sldIdLst>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Category Price Point Distribution Analysis P3M ByManuf" id="{B6C2688A-6413-4DC7-AF46-583FC63A972C}">
          <p14:sldIdLst>
            <p14:sldId id="2147477407"/>
            <p14:sldId id="2147477408"/>
            <p14:sldId id="2147477409"/>
          </p14:sldIdLst>
        </p14:section>
        <p14:section name="Category Price Point Distribution Analysis P12M ByManuf" id="{2486C836-50D0-453A-8090-BE7EF2D45FB2}">
          <p14:sldIdLst>
            <p14:sldId id="2147477410"/>
            <p14:sldId id="2147477411"/>
            <p14:sldId id="2147477412"/>
          </p14:sldIdLst>
        </p14:section>
        <p14:section name="Sector Price Point Distribution Analysis P3M ByManuf" id="{4ED52398-244A-4B5A-93F6-8C99D7DDF231}">
          <p14:sldIdLst>
            <p14:sldId id="2147477413"/>
            <p14:sldId id="2147477414"/>
            <p14:sldId id="2147477415"/>
            <p14:sldId id="2147477416"/>
            <p14:sldId id="2147477417"/>
            <p14:sldId id="2147477418"/>
          </p14:sldIdLst>
        </p14:section>
        <p14:section name="Sector Price Point Distribution Analysis P12M ByManuf" id="{C9CAF933-C32B-44F5-B144-A599E2D7616B}">
          <p14:sldIdLst>
            <p14:sldId id="2147477419"/>
            <p14:sldId id="2147477420"/>
            <p14:sldId id="2147477421"/>
            <p14:sldId id="2147477422"/>
            <p14:sldId id="2147477423"/>
            <p14:sldId id="2147477424"/>
          </p14:sldIdLst>
        </p14:section>
        <p14:section name="Price Point Comparison Analysis by Manuf" id="{AA2F3335-1389-46AD-ADFE-87CE87FC28EA}">
          <p14:sldIdLst>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Lst>
        </p14:section>
        <p14:section name="Price Point Comparison Analysis by Product" id="{4A6737DB-66E1-498F-A83D-039AF92239F3}">
          <p14:sldIdLst>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Lst>
        </p14:section>
        <p14:section name="Price Point Distribution Analysis By Brand" id="{700A4C45-0545-48D3-8A1A-734591D0C580}">
          <p14:sldIdLst>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Lst>
        </p14:section>
        <p14:section name="Price Point Distribution By Brand By Sector" id="{0D958990-843E-479C-AD39-9FAF6C72970E}">
          <p14:sldIdLst>
            <p14:sldId id="2147477497"/>
            <p14:sldId id="2147477498"/>
            <p14:sldId id="2147477499"/>
          </p14:sldIdLst>
        </p14:section>
        <p14:section name="Price Point Distribution By Brand By Segment" id="{87E87310-D0D4-478E-9558-D83C1C076818}">
          <p14:sldIdLst>
            <p14:sldId id="2147477500"/>
            <p14:sldId id="2147477501"/>
            <p14:sldId id="214747750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notesMaster" Target="notesMasters/notesMaster1.xml"/><Relationship Id="rId144" Type="http://schemas.openxmlformats.org/officeDocument/2006/relationships/presProps" Target="presProps.xml"/><Relationship Id="rId145" Type="http://schemas.openxmlformats.org/officeDocument/2006/relationships/viewProps" Target="viewProps.xml"/><Relationship Id="rId146" Type="http://schemas.openxmlformats.org/officeDocument/2006/relationships/theme" Target="theme/theme1.xml"/><Relationship Id="rId147" Type="http://schemas.openxmlformats.org/officeDocument/2006/relationships/tableStyles" Target="tableStyles.xml"/><Relationship Id="rId14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35</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33</a:t>
                    </a:r>
                  </a:p>
                </c:rich>
              </c:tx>
              <c:dLblPos val="t"/>
              <c:showLegendKey val="0"/>
              <c:showVal val="1"/>
              <c:showCatName val="0"/>
              <c:showSerName val="0"/>
              <c:showPercent val="0"/>
              <c:showBubbleSize val="0"/>
            </c:dLbl>
            <c:dLbl>
              <c:idx val="9"/>
              <c:tx>
                <c:rich>
                  <a:bodyPr/>
                  <a:lstStyle/>
                  <a:p>
                    <a:r>
                      <a:t>2.97</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Delicieusement Fouette Fromage Frais A Tartiner 1X210Gr 1P</c:v>
                </c:pt>
                <c:pt idx="9">
                  <c:v>Kiri Chevre Fromage Blanc Frais Carre 1X144Gr 8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35</c:v>
                </c:pt>
                <c:pt idx="7">
                  <c:v>2.62</c:v>
                </c:pt>
                <c:pt idx="8">
                  <c:v>3.33</c:v>
                </c:pt>
                <c:pt idx="9">
                  <c:v>2.97</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36</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0</a:t>
                    </a:r>
                  </a:p>
                </c:rich>
              </c:tx>
              <c:dLblPos val="t"/>
              <c:showLegendKey val="0"/>
              <c:showVal val="1"/>
              <c:showCatName val="0"/>
              <c:showSerName val="0"/>
              <c:showPercent val="0"/>
              <c:showBubbleSize val="0"/>
            </c:dLbl>
            <c:dLbl>
              <c:idx val="9"/>
              <c:tx>
                <c:rich>
                  <a:bodyPr/>
                  <a:lstStyle/>
                  <a:p>
                    <a:r>
                      <a:t>3.34</a:t>
                    </a:r>
                  </a:p>
                </c:rich>
              </c:tx>
              <c:dLblPos val="t"/>
              <c:showLegendKey val="0"/>
              <c:showVal val="1"/>
              <c:showCatName val="0"/>
              <c:showSerName val="0"/>
              <c:showPercent val="0"/>
              <c:showBubbleSize val="0"/>
            </c:dLbl>
            <c:dLbl>
              <c:idx val="10"/>
              <c:tx>
                <c:rich>
                  <a:bodyPr/>
                  <a:lstStyle/>
                  <a:p>
                    <a:r>
                      <a:t>2.79</a:t>
                    </a:r>
                  </a:p>
                </c:rich>
              </c:tx>
              <c:dLblPos val="t"/>
              <c:showLegendKey val="0"/>
              <c:showVal val="1"/>
              <c:showCatName val="0"/>
              <c:showSerName val="0"/>
              <c:showPercent val="0"/>
              <c:showBubbleSize val="0"/>
            </c:dLbl>
            <c:dLbl>
              <c:idx val="11"/>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210Gr 1P</c:v>
                </c:pt>
                <c:pt idx="10">
                  <c:v>Kiri Delicieusement Fouette Fromage Frais A Tartiner 1X160Gr 10P</c:v>
                </c:pt>
                <c:pt idx="11">
                  <c:v>Kiri Creme Fromage Blanc Frais Carre 1X240Gr 12P</c:v>
                </c:pt>
              </c:strCache>
            </c:strRef>
          </c:cat>
          <c:val>
            <c:numRef>
              <c:f>Sheet1!$B$2:$B$13</c:f>
              <c:numCache>
                <c:formatCode>General</c:formatCode>
                <c:ptCount val="12"/>
                <c:pt idx="0">
                  <c:v>2.95</c:v>
                </c:pt>
                <c:pt idx="1">
                  <c:v>5.14</c:v>
                </c:pt>
                <c:pt idx="2">
                  <c:v>2.28</c:v>
                </c:pt>
                <c:pt idx="3">
                  <c:v>2.43</c:v>
                </c:pt>
                <c:pt idx="4">
                  <c:v>3.59</c:v>
                </c:pt>
                <c:pt idx="5">
                  <c:v>4.14</c:v>
                </c:pt>
                <c:pt idx="6">
                  <c:v>2.36</c:v>
                </c:pt>
                <c:pt idx="7">
                  <c:v>2.62</c:v>
                </c:pt>
                <c:pt idx="8">
                  <c:v>3.0</c:v>
                </c:pt>
                <c:pt idx="9">
                  <c:v>3.34</c:v>
                </c:pt>
                <c:pt idx="10">
                  <c:v>2.79</c:v>
                </c:pt>
                <c:pt idx="11">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2.92</c:v>
                </c:pt>
                <c:pt idx="1">
                  <c:v>5.21</c:v>
                </c:pt>
                <c:pt idx="2">
                  <c:v>2.25</c:v>
                </c:pt>
                <c:pt idx="3">
                  <c:v>2.42</c:v>
                </c:pt>
                <c:pt idx="4">
                  <c:v>3.62</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4.86</c:v>
                </c:pt>
                <c:pt idx="1">
                  <c:v>4.03</c:v>
                </c:pt>
                <c:pt idx="2">
                  <c:v>2.65</c:v>
                </c:pt>
                <c:pt idx="3">
                  <c:v>3.03</c:v>
                </c:pt>
                <c:pt idx="4">
                  <c:v>2.49</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5.04</c:v>
                </c:pt>
                <c:pt idx="1">
                  <c:v>2.33</c:v>
                </c:pt>
                <c:pt idx="2">
                  <c:v>2.54</c:v>
                </c:pt>
                <c:pt idx="3">
                  <c:v>3.02</c:v>
                </c:pt>
                <c:pt idx="4">
                  <c:v>3.63</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4.09</c:v>
                </c:pt>
                <c:pt idx="1">
                  <c:v>4.82</c:v>
                </c:pt>
                <c:pt idx="2">
                  <c:v>2.78</c:v>
                </c:pt>
                <c:pt idx="3">
                  <c:v>3.94</c:v>
                </c:pt>
                <c:pt idx="4">
                  <c:v>2.44</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2.93</c:v>
                </c:pt>
                <c:pt idx="1">
                  <c:v>5.51</c:v>
                </c:pt>
                <c:pt idx="2">
                  <c:v>3.74</c:v>
                </c:pt>
                <c:pt idx="3">
                  <c:v>2.21</c:v>
                </c:pt>
                <c:pt idx="4">
                  <c:v>2.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4.91</c:v>
                </c:pt>
                <c:pt idx="1">
                  <c:v>2.56</c:v>
                </c:pt>
                <c:pt idx="2">
                  <c:v>4.21</c:v>
                </c:pt>
                <c:pt idx="3">
                  <c:v>2.55</c:v>
                </c:pt>
                <c:pt idx="4">
                  <c:v>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dLbl>
              <c:idx val="5"/>
              <c:tx>
                <c:rich>
                  <a:bodyPr/>
                  <a:lstStyle/>
                  <a:p>
                    <a:r>
                      <a:t>4.69</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1.9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1.35</a:t>
                    </a:r>
                  </a:p>
                </c:rich>
              </c:tx>
              <c:showLegendKey val="0"/>
              <c:showVal val="1"/>
              <c:showCatName val="0"/>
              <c:showSerName val="0"/>
              <c:showPercent val="0"/>
              <c:showBubbleSize val="0"/>
            </c:dLbl>
            <c:dLbl>
              <c:idx val="12"/>
              <c:tx>
                <c:rich>
                  <a:bodyPr/>
                  <a:lstStyle/>
                  <a:p>
                    <a:r>
                      <a:t>1.4</a:t>
                    </a:r>
                  </a:p>
                </c:rich>
              </c:tx>
              <c:showLegendKey val="0"/>
              <c:showVal val="1"/>
              <c:showCatName val="0"/>
              <c:showSerName val="0"/>
              <c:showPercent val="0"/>
              <c:showBubbleSize val="0"/>
            </c:dLbl>
            <c:dLbl>
              <c:idx val="13"/>
              <c:tx>
                <c:rich>
                  <a:bodyPr/>
                  <a:lstStyle/>
                  <a:p>
                    <a:r>
                      <a:t>3.45</a:t>
                    </a:r>
                  </a:p>
                </c:rich>
              </c:tx>
              <c:showLegendKey val="0"/>
              <c:showVal val="1"/>
              <c:showCatName val="0"/>
              <c:showSerName val="0"/>
              <c:showPercent val="0"/>
              <c:showBubbleSize val="0"/>
            </c:dLbl>
            <c:dLbl>
              <c:idx val="14"/>
              <c:tx>
                <c:rich>
                  <a:bodyPr/>
                  <a:lstStyle/>
                  <a:p>
                    <a:r>
                      <a:t>2.21</a:t>
                    </a:r>
                  </a:p>
                </c:rich>
              </c:tx>
              <c:showLegendKey val="0"/>
              <c:showVal val="1"/>
              <c:showCatName val="0"/>
              <c:showSerName val="0"/>
              <c:showPercent val="0"/>
              <c:showBubbleSize val="0"/>
            </c:dLbl>
            <c:dLbl>
              <c:idx val="15"/>
              <c:tx>
                <c:rich>
                  <a:bodyPr/>
                  <a:lstStyle/>
                  <a:p>
                    <a:r>
                      <a:t>2.25</a:t>
                    </a:r>
                  </a:p>
                </c:rich>
              </c:tx>
              <c:showLegendKey val="0"/>
              <c:showVal val="1"/>
              <c:showCatName val="0"/>
              <c:showSerName val="0"/>
              <c:showPercent val="0"/>
              <c:showBubbleSize val="0"/>
            </c:dLbl>
            <c:dLbl>
              <c:idx val="16"/>
              <c:tx>
                <c:rich>
                  <a:bodyPr/>
                  <a:lstStyle/>
                  <a:p>
                    <a:r>
                      <a:t>4.7</a:t>
                    </a:r>
                  </a:p>
                </c:rich>
              </c:tx>
              <c:showLegendKey val="0"/>
              <c:showVal val="1"/>
              <c:showCatName val="0"/>
              <c:showSerName val="0"/>
              <c:showPercent val="0"/>
              <c:showBubbleSize val="0"/>
            </c:dLbl>
            <c:dLbl>
              <c:idx val="17"/>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Sel Guerande 1X460Gr 1P</c:v>
                </c:pt>
                <c:pt idx="6">
                  <c:v>Paysan Breton Fromage Fouette De Madame Loik Frais A Tartiner Afh 1X15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Les Mousquetaires Paturages Fromage Frais A Tartiner 1X150Gr 1P</c:v>
                </c:pt>
                <c:pt idx="12">
                  <c:v>MDD MDD STD SOFT CHEESE FRAIS A TARTINER 1 CT X 175GR</c:v>
                </c:pt>
                <c:pt idx="13">
                  <c:v>St Moret Fromage Frais A Tartiner Boite 1X300Gr 1P</c:v>
                </c:pt>
                <c:pt idx="14">
                  <c:v>St Moret Fromage Frais A Tartiner Boite 1X150Gr 1P</c:v>
                </c:pt>
                <c:pt idx="15">
                  <c:v>St Moret Fromage Frais A Tartiner 1X180Gr 9P</c:v>
                </c:pt>
                <c:pt idx="16">
                  <c:v>St Moret Fromage Frais A Tartiner Boite 1X400Gr 1P</c:v>
                </c:pt>
                <c:pt idx="17">
                  <c:v>St Moret Ligne Et Plaisir Fromage Frais A Tartiner Allege Boite 1X300Gr 1P</c:v>
                </c:pt>
              </c:strCache>
            </c:strRef>
          </c:cat>
          <c:val>
            <c:numRef>
              <c:f>Sheet1!$B$2:$B$19</c:f>
              <c:numCache>
                <c:formatCode>General</c:formatCode>
                <c:ptCount val="18"/>
                <c:pt idx="0">
                  <c:v>2.35</c:v>
                </c:pt>
                <c:pt idx="1">
                  <c:v>3.33</c:v>
                </c:pt>
                <c:pt idx="2">
                  <c:v>2.82</c:v>
                </c:pt>
                <c:pt idx="3">
                  <c:v>2.23</c:v>
                </c:pt>
                <c:pt idx="4">
                  <c:v>3.41</c:v>
                </c:pt>
                <c:pt idx="5">
                  <c:v>4.69</c:v>
                </c:pt>
                <c:pt idx="6">
                  <c:v>1.92</c:v>
                </c:pt>
                <c:pt idx="7">
                  <c:v>1.92</c:v>
                </c:pt>
                <c:pt idx="8">
                  <c:v>1.29</c:v>
                </c:pt>
                <c:pt idx="9">
                  <c:v>1.9</c:v>
                </c:pt>
                <c:pt idx="10">
                  <c:v>2.14</c:v>
                </c:pt>
                <c:pt idx="11">
                  <c:v>1.35</c:v>
                </c:pt>
                <c:pt idx="12">
                  <c:v>1.4</c:v>
                </c:pt>
                <c:pt idx="13">
                  <c:v>3.45</c:v>
                </c:pt>
                <c:pt idx="14">
                  <c:v>2.21</c:v>
                </c:pt>
                <c:pt idx="15">
                  <c:v>2.25</c:v>
                </c:pt>
                <c:pt idx="16">
                  <c:v>4.7</c:v>
                </c:pt>
                <c:pt idx="17">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25</a:t>
                    </a:r>
                  </a:p>
                </c:rich>
              </c:tx>
              <c:showLegendKey val="0"/>
              <c:showVal val="1"/>
              <c:showCatName val="0"/>
              <c:showSerName val="0"/>
              <c:showPercent val="0"/>
              <c:showBubbleSize val="0"/>
            </c:dLbl>
            <c:dLbl>
              <c:idx val="18"/>
              <c:tx>
                <c:rich>
                  <a:bodyPr/>
                  <a:lstStyle/>
                  <a:p>
                    <a:r>
                      <a:t>4.7</a:t>
                    </a:r>
                  </a:p>
                </c:rich>
              </c:tx>
              <c:showLegendKey val="0"/>
              <c:showVal val="1"/>
              <c:showCatName val="0"/>
              <c:showSerName val="0"/>
              <c:showPercent val="0"/>
              <c:showBubbleSize val="0"/>
            </c:dLbl>
            <c:dLbl>
              <c:idx val="19"/>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St Moret Fromage Frais A Tartiner 1X180Gr 9P</c:v>
                </c:pt>
                <c:pt idx="18">
                  <c:v>St Moret Fromage Frais A Tartiner Boite 1X400Gr 1P</c:v>
                </c:pt>
                <c:pt idx="19">
                  <c:v>St Moret Ligne Et Plaisir Fromage Frais A Tartiner Allege Boite 1X3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25</c:v>
                </c:pt>
                <c:pt idx="18">
                  <c:v>4.7</c:v>
                </c:pt>
                <c:pt idx="19">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a:t>
                    </a:r>
                  </a:p>
                </c:rich>
              </c:tx>
              <c:showLegendKey val="0"/>
              <c:showVal val="1"/>
              <c:showCatName val="0"/>
              <c:showSerName val="0"/>
              <c:showPercent val="0"/>
              <c:showBubbleSize val="0"/>
            </c:dLbl>
            <c:dLbl>
              <c:idx val="1"/>
              <c:tx>
                <c:rich>
                  <a:bodyPr/>
                  <a:lstStyle/>
                  <a:p>
                    <a:r>
                      <a:t>3.36</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2.37</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2.07</a:t>
                    </a:r>
                  </a:p>
                </c:rich>
              </c:tx>
              <c:showLegendKey val="0"/>
              <c:showVal val="1"/>
              <c:showCatName val="0"/>
              <c:showSerName val="0"/>
              <c:showPercent val="0"/>
              <c:showBubbleSize val="0"/>
            </c:dLbl>
            <c:dLbl>
              <c:idx val="6"/>
              <c:tx>
                <c:rich>
                  <a:bodyPr/>
                  <a:lstStyle/>
                  <a:p>
                    <a:r>
                      <a:t>4.77</a:t>
                    </a:r>
                  </a:p>
                </c:rich>
              </c:tx>
              <c:showLegendKey val="0"/>
              <c:showVal val="1"/>
              <c:showCatName val="0"/>
              <c:showSerName val="0"/>
              <c:showPercent val="0"/>
              <c:showBubbleSize val="0"/>
            </c:dLbl>
            <c:dLbl>
              <c:idx val="7"/>
              <c:tx>
                <c:rich>
                  <a:bodyPr/>
                  <a:lstStyle/>
                  <a:p>
                    <a:r>
                      <a:t>1.9</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2.02</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0.92</a:t>
                    </a:r>
                  </a:p>
                </c:rich>
              </c:tx>
              <c:showLegendKey val="0"/>
              <c:showVal val="1"/>
              <c:showCatName val="0"/>
              <c:showSerName val="0"/>
              <c:showPercent val="0"/>
              <c:showBubbleSize val="0"/>
            </c:dLbl>
            <c:dLbl>
              <c:idx val="12"/>
              <c:tx>
                <c:rich>
                  <a:bodyPr/>
                  <a:lstStyle/>
                  <a:p>
                    <a:r>
                      <a:t>2.45</a:t>
                    </a:r>
                  </a:p>
                </c:rich>
              </c:tx>
              <c:showLegendKey val="0"/>
              <c:showVal val="1"/>
              <c:showCatName val="0"/>
              <c:showSerName val="0"/>
              <c:showPercent val="0"/>
              <c:showBubbleSize val="0"/>
            </c:dLbl>
            <c:dLbl>
              <c:idx val="13"/>
              <c:tx>
                <c:rich>
                  <a:bodyPr/>
                  <a:lstStyle/>
                  <a:p>
                    <a:r>
                      <a:t>4.8</a:t>
                    </a:r>
                  </a:p>
                </c:rich>
              </c:tx>
              <c:showLegendKey val="0"/>
              <c:showVal val="1"/>
              <c:showCatName val="0"/>
              <c:showSerName val="0"/>
              <c:showPercent val="0"/>
              <c:showBubbleSize val="0"/>
            </c:dLbl>
            <c:dLbl>
              <c:idx val="14"/>
              <c:tx>
                <c:rich>
                  <a:bodyPr/>
                  <a:lstStyle/>
                  <a:p>
                    <a:r>
                      <a:t>2.46</a:t>
                    </a:r>
                  </a:p>
                </c:rich>
              </c:tx>
              <c:showLegendKey val="0"/>
              <c:showVal val="1"/>
              <c:showCatName val="0"/>
              <c:showSerName val="0"/>
              <c:showPercent val="0"/>
              <c:showBubbleSize val="0"/>
            </c:dLbl>
            <c:dLbl>
              <c:idx val="15"/>
              <c:tx>
                <c:rich>
                  <a:bodyPr/>
                  <a:lstStyle/>
                  <a:p>
                    <a:r>
                      <a:t>3.59</a:t>
                    </a:r>
                  </a:p>
                </c:rich>
              </c:tx>
              <c:showLegendKey val="0"/>
              <c:showVal val="1"/>
              <c:showCatName val="0"/>
              <c:showSerName val="0"/>
              <c:showPercent val="0"/>
              <c:showBubbleSize val="0"/>
            </c:dLbl>
            <c:dLbl>
              <c:idx val="16"/>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Afh 1X150Gr 1P</c:v>
                </c:pt>
                <c:pt idx="6">
                  <c:v>Paysan Breton Fromage Fouette De Madame Loik Frais A Tartiner Sel Guerande 1X46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MDD MDD 1ER PRIX SOFT CHEESE FRAIS A TARTINER 1 CT X 150GR</c:v>
                </c:pt>
                <c:pt idx="12">
                  <c:v>St Moret Fromage Frais A Tartiner Boite 1X150Gr 1P</c:v>
                </c:pt>
                <c:pt idx="13">
                  <c:v>St Moret Fromage Frais A Tartiner Boite 1X400Gr 1P</c:v>
                </c:pt>
                <c:pt idx="14">
                  <c:v>St Moret Fromage Frais A Tartiner 1X180Gr 9P</c:v>
                </c:pt>
                <c:pt idx="15">
                  <c:v>St Moret Fromage Frais A Tartiner Boite 1X300Gr 1P</c:v>
                </c:pt>
                <c:pt idx="16">
                  <c:v>St Moret Ligne Et Plaisir Fromage Frais A Tartiner Allege Boite 1X150Gr 1P</c:v>
                </c:pt>
              </c:strCache>
            </c:strRef>
          </c:cat>
          <c:val>
            <c:numRef>
              <c:f>Sheet1!$B$2:$B$18</c:f>
              <c:numCache>
                <c:formatCode>General</c:formatCode>
                <c:ptCount val="17"/>
                <c:pt idx="0">
                  <c:v>2.4</c:v>
                </c:pt>
                <c:pt idx="1">
                  <c:v>3.36</c:v>
                </c:pt>
                <c:pt idx="2">
                  <c:v>2.8</c:v>
                </c:pt>
                <c:pt idx="3">
                  <c:v>2.37</c:v>
                </c:pt>
                <c:pt idx="4">
                  <c:v>3.42</c:v>
                </c:pt>
                <c:pt idx="5">
                  <c:v>2.07</c:v>
                </c:pt>
                <c:pt idx="6">
                  <c:v>4.77</c:v>
                </c:pt>
                <c:pt idx="7">
                  <c:v>1.9</c:v>
                </c:pt>
                <c:pt idx="8">
                  <c:v>1.51</c:v>
                </c:pt>
                <c:pt idx="9">
                  <c:v>2.02</c:v>
                </c:pt>
                <c:pt idx="10">
                  <c:v>2.14</c:v>
                </c:pt>
                <c:pt idx="11">
                  <c:v>0.92</c:v>
                </c:pt>
                <c:pt idx="12">
                  <c:v>2.45</c:v>
                </c:pt>
                <c:pt idx="13">
                  <c:v>4.8</c:v>
                </c:pt>
                <c:pt idx="14">
                  <c:v>2.46</c:v>
                </c:pt>
                <c:pt idx="15">
                  <c:v>3.59</c:v>
                </c:pt>
                <c:pt idx="16">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2.46</a:t>
                    </a:r>
                  </a:p>
                </c:rich>
              </c:tx>
              <c:showLegendKey val="0"/>
              <c:showVal val="1"/>
              <c:showCatName val="0"/>
              <c:showSerName val="0"/>
              <c:showPercent val="0"/>
              <c:showBubbleSize val="0"/>
            </c:dLbl>
            <c:dLbl>
              <c:idx val="17"/>
              <c:tx>
                <c:rich>
                  <a:bodyPr/>
                  <a:lstStyle/>
                  <a:p>
                    <a:r>
                      <a:t>3.59</a:t>
                    </a:r>
                  </a:p>
                </c:rich>
              </c:tx>
              <c:showLegendKey val="0"/>
              <c:showVal val="1"/>
              <c:showCatName val="0"/>
              <c:showSerName val="0"/>
              <c:showPercent val="0"/>
              <c:showBubbleSize val="0"/>
            </c:dLbl>
            <c:dLbl>
              <c:idx val="18"/>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St Moret Fromage Frais A Tartiner 1X180Gr 9P</c:v>
                </c:pt>
                <c:pt idx="17">
                  <c:v>St Moret Fromage Frais A Tartiner Boite 1X300Gr 1P</c:v>
                </c:pt>
                <c:pt idx="18">
                  <c:v>St Moret Ligne Et Plaisir Fromage Frais A Tartiner Allege Boite 1X150Gr 1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2.46</c:v>
                </c:pt>
                <c:pt idx="17">
                  <c:v>3.59</c:v>
                </c:pt>
                <c:pt idx="18">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3.42</a:t>
                    </a:r>
                  </a:p>
                </c:rich>
              </c:tx>
              <c:showLegendKey val="0"/>
              <c:showVal val="1"/>
              <c:showCatName val="0"/>
              <c:showSerName val="0"/>
              <c:showPercent val="0"/>
              <c:showBubbleSize val="0"/>
            </c:dLbl>
            <c:dLbl>
              <c:idx val="3"/>
              <c:tx>
                <c:rich>
                  <a:bodyPr/>
                  <a:lstStyle/>
                  <a:p>
                    <a:r>
                      <a:t>1.85</a:t>
                    </a:r>
                  </a:p>
                </c:rich>
              </c:tx>
              <c:showLegendKey val="0"/>
              <c:showVal val="1"/>
              <c:showCatName val="0"/>
              <c:showSerName val="0"/>
              <c:showPercent val="0"/>
              <c:showBubbleSize val="0"/>
            </c:dLbl>
            <c:dLbl>
              <c:idx val="4"/>
              <c:tx>
                <c:rich>
                  <a:bodyPr/>
                  <a:lstStyle/>
                  <a:p>
                    <a:r>
                      <a:t>1.84</a:t>
                    </a:r>
                  </a:p>
                </c:rich>
              </c:tx>
              <c:showLegendKey val="0"/>
              <c:showVal val="1"/>
              <c:showCatName val="0"/>
              <c:showSerName val="0"/>
              <c:showPercent val="0"/>
              <c:showBubbleSize val="0"/>
            </c:dLbl>
            <c:dLbl>
              <c:idx val="5"/>
              <c:tx>
                <c:rich>
                  <a:bodyPr/>
                  <a:lstStyle/>
                  <a:p>
                    <a:r>
                      <a:t>4.65</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1.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1.87</a:t>
                    </a:r>
                  </a:p>
                </c:rich>
              </c:tx>
              <c:showLegendKey val="0"/>
              <c:showVal val="1"/>
              <c:showCatName val="0"/>
              <c:showSerName val="0"/>
              <c:showPercent val="0"/>
              <c:showBubbleSize val="0"/>
            </c:dLbl>
            <c:dLbl>
              <c:idx val="10"/>
              <c:tx>
                <c:rich>
                  <a:bodyPr/>
                  <a:lstStyle/>
                  <a:p>
                    <a:r>
                      <a:t>0.86</a:t>
                    </a:r>
                  </a:p>
                </c:rich>
              </c:tx>
              <c:showLegendKey val="0"/>
              <c:showVal val="1"/>
              <c:showCatName val="0"/>
              <c:showSerName val="0"/>
              <c:showPercent val="0"/>
              <c:showBubbleSize val="0"/>
            </c:dLbl>
            <c:dLbl>
              <c:idx val="11"/>
              <c:tx>
                <c:rich>
                  <a:bodyPr/>
                  <a:lstStyle/>
                  <a:p>
                    <a:r>
                      <a:t>4.69</a:t>
                    </a:r>
                  </a:p>
                </c:rich>
              </c:tx>
              <c:showLegendKey val="0"/>
              <c:showVal val="1"/>
              <c:showCatName val="0"/>
              <c:showSerName val="0"/>
              <c:showPercent val="0"/>
              <c:showBubbleSize val="0"/>
            </c:dLbl>
            <c:dLbl>
              <c:idx val="12"/>
              <c:tx>
                <c:rich>
                  <a:bodyPr/>
                  <a:lstStyle/>
                  <a:p>
                    <a:r>
                      <a:t>3.56</a:t>
                    </a:r>
                  </a:p>
                </c:rich>
              </c:tx>
              <c:showLegendKey val="0"/>
              <c:showVal val="1"/>
              <c:showCatName val="0"/>
              <c:showSerName val="0"/>
              <c:showPercent val="0"/>
              <c:showBubbleSize val="0"/>
            </c:dLbl>
            <c:dLbl>
              <c:idx val="13"/>
              <c:tx>
                <c:rich>
                  <a:bodyPr/>
                  <a:lstStyle/>
                  <a:p>
                    <a:r>
                      <a:t>2.1</a:t>
                    </a:r>
                  </a:p>
                </c:rich>
              </c:tx>
              <c:showLegendKey val="0"/>
              <c:showVal val="1"/>
              <c:showCatName val="0"/>
              <c:showSerName val="0"/>
              <c:showPercent val="0"/>
              <c:showBubbleSize val="0"/>
            </c:dLbl>
            <c:dLbl>
              <c:idx val="14"/>
              <c:tx>
                <c:rich>
                  <a:bodyPr/>
                  <a:lstStyle/>
                  <a:p>
                    <a:r>
                      <a:t>2.3</a:t>
                    </a:r>
                  </a:p>
                </c:rich>
              </c:tx>
              <c:showLegendKey val="0"/>
              <c:showVal val="1"/>
              <c:showCatName val="0"/>
              <c:showSerName val="0"/>
              <c:showPercent val="0"/>
              <c:showBubbleSize val="0"/>
            </c:dLbl>
            <c:dLbl>
              <c:idx val="15"/>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Delicieusement Fouette Fromage Frais A Tartiner 1X125Gr 1P</c:v>
                </c:pt>
                <c:pt idx="1">
                  <c:v>Paysan Breton Fromage Fouette De Madame Loik Frais A Tartiner Sel Guerande 1X180Gr 1P</c:v>
                </c:pt>
                <c:pt idx="2">
                  <c:v>Paysan Breton Fromage Fouette De Madame Loik Frais A Tartiner Sel Guerande 1X320Gr 1P</c:v>
                </c:pt>
                <c:pt idx="3">
                  <c:v>Paysan Breton Fromage Fouette De Madame Loik Frais A Tartiner Afh 1X150Gr 1P</c:v>
                </c:pt>
                <c:pt idx="4">
                  <c:v>Paysan Breton Fromage Fouette De Madame Loik Frais A Tartiner Ciboulette &amp; Echalote 1X150Gr 1P</c:v>
                </c:pt>
                <c:pt idx="5">
                  <c:v>Paysan Breton Fromage Fouette De Madame Loik Frais A Tartiner Sel Guerande 1X460Gr 1P</c:v>
                </c:pt>
                <c:pt idx="6">
                  <c:v>Les Mousquetaires Paturages Fromage Frais A Tartiner 1X150Gr 1P</c:v>
                </c:pt>
                <c:pt idx="7">
                  <c:v>Les Mousquetaires Paturages Fromage Frais A Tartiner Ail &amp; Fines Herbes Boite 1X150Gr 1P</c:v>
                </c:pt>
                <c:pt idx="8">
                  <c:v>Les Mousquetaires Paturages Fromage Frais A Tartiner Ail &amp; Fines Herbes Boite 1X250Gr 1P</c:v>
                </c:pt>
                <c:pt idx="9">
                  <c:v>Les Mousquetaires Paturages Fromage Frais A Tartiner 1X300Gr 1P</c:v>
                </c:pt>
                <c:pt idx="10">
                  <c:v>Les Mousquetaires Top Budget Fromage Frais A Tartiner Ail &amp; Fines Herbes 1X150Gr 1P</c:v>
                </c:pt>
                <c:pt idx="11">
                  <c:v>St Moret Fromage Frais A Tartiner Boite 1X400Gr 1P</c:v>
                </c:pt>
                <c:pt idx="12">
                  <c:v>St Moret Fromage Frais A Tartiner Boite 1X300Gr 1P</c:v>
                </c:pt>
                <c:pt idx="13">
                  <c:v>St Moret Fromage Frais A Tartiner Boite 1X150Gr 1P</c:v>
                </c:pt>
                <c:pt idx="14">
                  <c:v>St Moret Fromage Frais A Tartiner 1X180Gr 9P</c:v>
                </c:pt>
                <c:pt idx="15">
                  <c:v>St Moret Ligne Et Plaisir Fromage Frais A Tartiner Allege Boite 1X300Gr 1P</c:v>
                </c:pt>
              </c:strCache>
            </c:strRef>
          </c:cat>
          <c:val>
            <c:numRef>
              <c:f>Sheet1!$B$2:$B$17</c:f>
              <c:numCache>
                <c:formatCode>General</c:formatCode>
                <c:ptCount val="16"/>
                <c:pt idx="0">
                  <c:v>2.41</c:v>
                </c:pt>
                <c:pt idx="1">
                  <c:v>2.15</c:v>
                </c:pt>
                <c:pt idx="2">
                  <c:v>3.42</c:v>
                </c:pt>
                <c:pt idx="3">
                  <c:v>1.85</c:v>
                </c:pt>
                <c:pt idx="4">
                  <c:v>1.84</c:v>
                </c:pt>
                <c:pt idx="5">
                  <c:v>4.65</c:v>
                </c:pt>
                <c:pt idx="6">
                  <c:v>1.37</c:v>
                </c:pt>
                <c:pt idx="7">
                  <c:v>1.31</c:v>
                </c:pt>
                <c:pt idx="8">
                  <c:v>2.12</c:v>
                </c:pt>
                <c:pt idx="9">
                  <c:v>1.87</c:v>
                </c:pt>
                <c:pt idx="10">
                  <c:v>0.86</c:v>
                </c:pt>
                <c:pt idx="11">
                  <c:v>4.69</c:v>
                </c:pt>
                <c:pt idx="12">
                  <c:v>3.56</c:v>
                </c:pt>
                <c:pt idx="13">
                  <c:v>2.1</c:v>
                </c:pt>
                <c:pt idx="14">
                  <c:v>2.3</c:v>
                </c:pt>
                <c:pt idx="15">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3</a:t>
                    </a:r>
                  </a:p>
                </c:rich>
              </c:tx>
              <c:showLegendKey val="0"/>
              <c:showVal val="1"/>
              <c:showCatName val="0"/>
              <c:showSerName val="0"/>
              <c:showPercent val="0"/>
              <c:showBubbleSize val="0"/>
            </c:dLbl>
            <c:dLbl>
              <c:idx val="19"/>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St Moret Fromage Frais A Tartiner 1X180Gr 9P</c:v>
                </c:pt>
                <c:pt idx="19">
                  <c:v>St Moret Ligne Et Plaisir Fromage Frais A Tartiner Allege Boite 1X300Gr 1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3</c:v>
                </c:pt>
                <c:pt idx="19">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3.64</a:t>
                    </a:r>
                  </a:p>
                </c:rich>
              </c:tx>
              <c:showLegendKey val="0"/>
              <c:showVal val="1"/>
              <c:showCatName val="0"/>
              <c:showSerName val="0"/>
              <c:showPercent val="0"/>
              <c:showBubbleSize val="0"/>
            </c:dLbl>
            <c:dLbl>
              <c:idx val="7"/>
              <c:tx>
                <c:rich>
                  <a:bodyPr/>
                  <a:lstStyle/>
                  <a:p>
                    <a:r>
                      <a:t>3.73</a:t>
                    </a:r>
                  </a:p>
                </c:rich>
              </c:tx>
              <c:showLegendKey val="0"/>
              <c:showVal val="1"/>
              <c:showCatName val="0"/>
              <c:showSerName val="0"/>
              <c:showPercent val="0"/>
              <c:showBubbleSize val="0"/>
            </c:dLbl>
            <c:dLbl>
              <c:idx val="8"/>
              <c:tx>
                <c:rich>
                  <a:bodyPr/>
                  <a:lstStyle/>
                  <a:p>
                    <a:r>
                      <a:t>2.61</a:t>
                    </a:r>
                  </a:p>
                </c:rich>
              </c:tx>
              <c:showLegendKey val="0"/>
              <c:showVal val="1"/>
              <c:showCatName val="0"/>
              <c:showSerName val="0"/>
              <c:showPercent val="0"/>
              <c:showBubbleSize val="0"/>
            </c:dLbl>
            <c:dLbl>
              <c:idx val="9"/>
              <c:tx>
                <c:rich>
                  <a:bodyPr/>
                  <a:lstStyle/>
                  <a:p>
                    <a:r>
                      <a:t>2.49</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Galbani Mozzarella Piece Sachet 1X375Gr 3P</c:v>
                </c:pt>
                <c:pt idx="7">
                  <c:v>Galbani Burrata Piece 1X150Gr 1P</c:v>
                </c:pt>
                <c:pt idx="8">
                  <c:v>Galbani Mozzarella Bille 1X150Gr 20P</c:v>
                </c:pt>
                <c:pt idx="9">
                  <c:v>Galbani Mozzarella Piece Sachet 1X2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3.64</c:v>
                </c:pt>
                <c:pt idx="7">
                  <c:v>3.73</c:v>
                </c:pt>
                <c:pt idx="8">
                  <c:v>2.61</c:v>
                </c:pt>
                <c:pt idx="9">
                  <c:v>2.49</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8</a:t>
                    </a:r>
                  </a:p>
                </c:rich>
              </c:tx>
              <c:showLegendKey val="0"/>
              <c:showVal val="1"/>
              <c:showCatName val="0"/>
              <c:showSerName val="0"/>
              <c:showPercent val="0"/>
              <c:showBubbleSize val="0"/>
            </c:dLbl>
            <c:dLbl>
              <c:idx val="9"/>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MDD MDD STD SOFT CHEESE SALADE 1 CT X 200GR</c:v>
                </c:pt>
                <c:pt idx="6">
                  <c:v>MDD MDD STD SOFT CHEESE SALADE 1 CT X 125GR</c:v>
                </c:pt>
                <c:pt idx="7">
                  <c:v>MDD MDD STD SOFT CHEESE SALADE 1 CT X 150GR</c:v>
                </c:pt>
                <c:pt idx="8">
                  <c:v>MDD MDD STD SOFT CHEESE SALADE 1 CT X 375GR</c:v>
                </c:pt>
                <c:pt idx="9">
                  <c:v>MDD MDD STD SOFT CHEESE SALADE 1 CT X 250GR</c:v>
                </c:pt>
              </c:strCache>
            </c:strRef>
          </c:cat>
          <c:val>
            <c:numRef>
              <c:f>Sheet1!$B$2:$B$11</c:f>
              <c:numCache>
                <c:formatCode>General</c:formatCode>
                <c:ptCount val="10"/>
                <c:pt idx="0">
                  <c:v>2.5</c:v>
                </c:pt>
                <c:pt idx="1">
                  <c:v>2.28</c:v>
                </c:pt>
                <c:pt idx="2">
                  <c:v>2.27</c:v>
                </c:pt>
                <c:pt idx="3">
                  <c:v>2.6</c:v>
                </c:pt>
                <c:pt idx="4">
                  <c:v>2.65</c:v>
                </c:pt>
                <c:pt idx="5">
                  <c:v>3.22</c:v>
                </c:pt>
                <c:pt idx="6">
                  <c:v>1.69</c:v>
                </c:pt>
                <c:pt idx="7">
                  <c:v>2.34</c:v>
                </c:pt>
                <c:pt idx="8">
                  <c:v>2.8</c:v>
                </c:pt>
                <c:pt idx="9">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dLbl>
              <c:idx val="15"/>
              <c:tx>
                <c:rich>
                  <a:bodyPr/>
                  <a:lstStyle/>
                  <a:p>
                    <a:r>
                      <a:t>2.89</a:t>
                    </a:r>
                  </a:p>
                </c:rich>
              </c:tx>
              <c:showLegendKey val="0"/>
              <c:showVal val="1"/>
              <c:showCatName val="0"/>
              <c:showSerName val="0"/>
              <c:showPercent val="0"/>
              <c:showBubbleSize val="0"/>
            </c:dLbl>
            <c:dLbl>
              <c:idx val="16"/>
              <c:tx>
                <c:rich>
                  <a:bodyPr/>
                  <a:lstStyle/>
                  <a:p>
                    <a:r>
                      <a:t>3.59</a:t>
                    </a:r>
                  </a:p>
                </c:rich>
              </c:tx>
              <c:showLegendKey val="0"/>
              <c:showVal val="1"/>
              <c:showCatName val="0"/>
              <c:showSerName val="0"/>
              <c:showPercent val="0"/>
              <c:showBubbleSize val="0"/>
            </c:dLbl>
            <c:dLbl>
              <c:idx val="17"/>
              <c:tx>
                <c:rich>
                  <a:bodyPr/>
                  <a:lstStyle/>
                  <a:p>
                    <a:r>
                      <a:t>2.88</a:t>
                    </a:r>
                  </a:p>
                </c:rich>
              </c:tx>
              <c:showLegendKey val="0"/>
              <c:showVal val="1"/>
              <c:showCatName val="0"/>
              <c:showSerName val="0"/>
              <c:showPercent val="0"/>
              <c:showBubbleSize val="0"/>
            </c:dLbl>
            <c:dLbl>
              <c:idx val="18"/>
              <c:tx>
                <c:rich>
                  <a:bodyPr/>
                  <a:lstStyle/>
                  <a:p>
                    <a:r>
                      <a:t>3.49</a:t>
                    </a:r>
                  </a:p>
                </c:rich>
              </c:tx>
              <c:showLegendKey val="0"/>
              <c:showVal val="1"/>
              <c:showCatName val="0"/>
              <c:showSerName val="0"/>
              <c:showPercent val="0"/>
              <c:showBubbleSize val="0"/>
            </c:dLbl>
            <c:dLbl>
              <c:idx val="19"/>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pt idx="15">
                  <c:v>Salakis Assimile Feta Autre Boite 1X200Gr 1P</c:v>
                </c:pt>
                <c:pt idx="16">
                  <c:v>Salakis Assimile Feta Des Herbes De Provence Bocal 1X300Gr 1P</c:v>
                </c:pt>
                <c:pt idx="17">
                  <c:v>Salakis Feta Autre Boite 1X150Gr 1P</c:v>
                </c:pt>
                <c:pt idx="18">
                  <c:v>Salakis Assimile Feta Des Basilic &amp; Huile Bocal 1X300Gr 1P</c:v>
                </c:pt>
                <c:pt idx="19">
                  <c:v>Salakis Assimile Feta Des Huile &amp; Romarin Tomate Bocal 1X300Gr 1P</c:v>
                </c:pt>
              </c:strCache>
            </c:strRef>
          </c:cat>
          <c:val>
            <c:numRef>
              <c:f>Sheet1!$B$2:$B$21</c:f>
              <c:numCache>
                <c:formatCode>General</c:formatCode>
                <c:ptCount val="20"/>
                <c:pt idx="0">
                  <c:v>2.47</c:v>
                </c:pt>
                <c:pt idx="1">
                  <c:v>2.38</c:v>
                </c:pt>
                <c:pt idx="2">
                  <c:v>2.37</c:v>
                </c:pt>
                <c:pt idx="3">
                  <c:v>2.43</c:v>
                </c:pt>
                <c:pt idx="4">
                  <c:v>2.53</c:v>
                </c:pt>
                <c:pt idx="5">
                  <c:v>1.24</c:v>
                </c:pt>
                <c:pt idx="6">
                  <c:v>3.61</c:v>
                </c:pt>
                <c:pt idx="7">
                  <c:v>3.88</c:v>
                </c:pt>
                <c:pt idx="8">
                  <c:v>2.39</c:v>
                </c:pt>
                <c:pt idx="9">
                  <c:v>2.54</c:v>
                </c:pt>
                <c:pt idx="10">
                  <c:v>0.92</c:v>
                </c:pt>
                <c:pt idx="11">
                  <c:v>2.51</c:v>
                </c:pt>
                <c:pt idx="12">
                  <c:v>4.57</c:v>
                </c:pt>
                <c:pt idx="13">
                  <c:v>1.86</c:v>
                </c:pt>
                <c:pt idx="14">
                  <c:v>2.72</c:v>
                </c:pt>
                <c:pt idx="15">
                  <c:v>2.89</c:v>
                </c:pt>
                <c:pt idx="16">
                  <c:v>3.59</c:v>
                </c:pt>
                <c:pt idx="17">
                  <c:v>2.88</c:v>
                </c:pt>
                <c:pt idx="18">
                  <c:v>3.49</c:v>
                </c:pt>
                <c:pt idx="19">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B$2:$B$10</c:f>
              <c:numCache>
                <c:formatCode>General</c:formatCode>
                <c:ptCount val="9"/>
                <c:pt idx="1">
                  <c:v>3.6</c:v>
                </c:pt>
                <c:pt idx="2">
                  <c:v>3.3784</c:v>
                </c:pt>
                <c:pt idx="3">
                  <c:v>2.55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C$2:$C$10</c:f>
              <c:numCache>
                <c:formatCode>General</c:formatCode>
                <c:ptCount val="9"/>
                <c:pt idx="0">
                  <c:v>8.88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D$2:$D$10</c:f>
              <c:numCache>
                <c:formatCode>General</c:formatCode>
                <c:ptCount val="9"/>
                <c:pt idx="0">
                  <c:v>2.2421</c:v>
                </c:pt>
                <c:pt idx="2">
                  <c:v>2.2454</c:v>
                </c:pt>
                <c:pt idx="3">
                  <c:v>2.1683</c:v>
                </c:pt>
                <c:pt idx="4">
                  <c:v>2.954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E$2:$E$10</c:f>
              <c:numCache>
                <c:formatCode>General</c:formatCode>
                <c:ptCount val="9"/>
                <c:pt idx="1">
                  <c:v>2.2961</c:v>
                </c:pt>
                <c:pt idx="2">
                  <c:v>2.3233</c:v>
                </c:pt>
                <c:pt idx="3">
                  <c:v>1.31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F$2:$F$10</c:f>
              <c:numCache>
                <c:formatCode>General</c:formatCode>
                <c:ptCount val="9"/>
                <c:pt idx="0">
                  <c:v>2.03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G$2:$G$10</c:f>
              <c:numCache>
                <c:formatCode>General</c:formatCode>
                <c:ptCount val="9"/>
                <c:pt idx="2">
                  <c:v>1.976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H$2:$H$10</c:f>
              <c:numCache>
                <c:formatCode>General</c:formatCode>
                <c:ptCount val="9"/>
                <c:pt idx="0">
                  <c:v>2.38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I$2:$I$10</c:f>
              <c:numCache>
                <c:formatCode>General</c:formatCode>
                <c:ptCount val="9"/>
                <c:pt idx="1">
                  <c:v>2.31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J$2:$J$10</c:f>
              <c:numCache>
                <c:formatCode>General</c:formatCode>
                <c:ptCount val="9"/>
                <c:pt idx="1">
                  <c:v>2.6524</c:v>
                </c:pt>
                <c:pt idx="2">
                  <c:v>2.1529</c:v>
                </c:pt>
                <c:pt idx="3">
                  <c:v>1.7811</c:v>
                </c:pt>
                <c:pt idx="4">
                  <c:v>3.3092</c:v>
                </c:pt>
                <c:pt idx="7">
                  <c:v>2.332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K$2:$K$10</c:f>
              <c:numCache>
                <c:formatCode>General</c:formatCode>
                <c:ptCount val="9"/>
                <c:pt idx="0">
                  <c:v>2.654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L$2:$L$10</c:f>
              <c:numCache>
                <c:formatCode>General</c:formatCode>
                <c:ptCount val="9"/>
                <c:pt idx="1">
                  <c:v>2.6647</c:v>
                </c:pt>
                <c:pt idx="2">
                  <c:v>2.43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M$2:$M$10</c:f>
              <c:numCache>
                <c:formatCode>General</c:formatCode>
                <c:ptCount val="9"/>
                <c:pt idx="0">
                  <c:v>2.1623</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N$2:$N$10</c:f>
              <c:numCache>
                <c:formatCode>General</c:formatCode>
                <c:ptCount val="9"/>
                <c:pt idx="0">
                  <c:v>2.3717</c:v>
                </c:pt>
                <c:pt idx="1">
                  <c:v>2.33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O$2:$O$10</c:f>
              <c:numCache>
                <c:formatCode>General</c:formatCode>
                <c:ptCount val="9"/>
                <c:pt idx="3">
                  <c:v>2.1045</c:v>
                </c:pt>
                <c:pt idx="4">
                  <c:v>3.1738</c:v>
                </c:pt>
                <c:pt idx="5">
                  <c:v>2.0325</c:v>
                </c:pt>
                <c:pt idx="6">
                  <c:v>2.6435</c:v>
                </c:pt>
                <c:pt idx="7">
                  <c:v>2.301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P$2:$P$10</c:f>
              <c:numCache>
                <c:formatCode>General</c:formatCode>
                <c:ptCount val="9"/>
                <c:pt idx="0">
                  <c:v>2.613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Q$2:$Q$10</c:f>
              <c:numCache>
                <c:formatCode>General</c:formatCode>
                <c:ptCount val="9"/>
                <c:pt idx="0">
                  <c:v>1.8857</c:v>
                </c:pt>
                <c:pt idx="3">
                  <c:v>2.3247</c:v>
                </c:pt>
                <c:pt idx="4">
                  <c:v>3.481</c:v>
                </c:pt>
                <c:pt idx="6">
                  <c:v>2.2473</c:v>
                </c:pt>
                <c:pt idx="8">
                  <c:v>3.030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R$2:$R$10</c:f>
              <c:numCache>
                <c:formatCode>General</c:formatCode>
                <c:ptCount val="9"/>
                <c:pt idx="1">
                  <c:v>3.0883</c:v>
                </c:pt>
                <c:pt idx="2">
                  <c:v>2.93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S$2:$S$10</c:f>
              <c:numCache>
                <c:formatCode>General</c:formatCode>
                <c:ptCount val="9"/>
                <c:pt idx="1">
                  <c:v>2.861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T$2:$T$10</c:f>
              <c:numCache>
                <c:formatCode>General</c:formatCode>
                <c:ptCount val="9"/>
                <c:pt idx="1">
                  <c:v>3.3762</c:v>
                </c:pt>
                <c:pt idx="3">
                  <c:v>1.967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U$2:$U$10</c:f>
              <c:numCache>
                <c:formatCode>General</c:formatCode>
                <c:ptCount val="9"/>
                <c:pt idx="2">
                  <c:v>3.2924</c:v>
                </c:pt>
                <c:pt idx="3">
                  <c:v>2.0734</c:v>
                </c:pt>
                <c:pt idx="4">
                  <c:v>3.1079</c:v>
                </c:pt>
                <c:pt idx="5">
                  <c:v>2.038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V$2:$V$10</c:f>
              <c:numCache>
                <c:formatCode>General</c:formatCode>
                <c:ptCount val="9"/>
                <c:pt idx="0">
                  <c:v>2.9342</c:v>
                </c:pt>
                <c:pt idx="2">
                  <c:v>3.367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W$2:$W$10</c:f>
              <c:numCache>
                <c:formatCode>General</c:formatCode>
                <c:ptCount val="9"/>
                <c:pt idx="0">
                  <c:v>3.099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X$2:$X$10</c:f>
              <c:numCache>
                <c:formatCode>General</c:formatCode>
                <c:ptCount val="9"/>
                <c:pt idx="0">
                  <c:v>3.7054</c:v>
                </c:pt>
                <c:pt idx="1">
                  <c:v>3.5573</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Y$2:$Y$10</c:f>
              <c:numCache>
                <c:formatCode>General</c:formatCode>
                <c:ptCount val="9"/>
                <c:pt idx="3">
                  <c:v>2.3258</c:v>
                </c:pt>
                <c:pt idx="6">
                  <c:v>3.1867</c:v>
                </c:pt>
                <c:pt idx="7">
                  <c:v>3.5305</c:v>
                </c:pt>
                <c:pt idx="8">
                  <c:v>3.501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Z$2:$Z$10</c:f>
              <c:numCache>
                <c:formatCode>General</c:formatCode>
                <c:ptCount val="9"/>
                <c:pt idx="2">
                  <c:v>3.6399</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A$2:$AA$10</c:f>
              <c:numCache>
                <c:formatCode>General</c:formatCode>
                <c:ptCount val="9"/>
                <c:pt idx="0">
                  <c:v>1.440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B$2:$AB$10</c:f>
              <c:numCache>
                <c:formatCode>General</c:formatCode>
                <c:ptCount val="9"/>
                <c:pt idx="3">
                  <c:v>2.2444</c:v>
                </c:pt>
                <c:pt idx="5">
                  <c:v>2.8563</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C$2:$AC$10</c:f>
              <c:numCache>
                <c:formatCode>General</c:formatCode>
                <c:ptCount val="9"/>
                <c:pt idx="3">
                  <c:v>2.6872</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D$2:$AD$10</c:f>
              <c:numCache>
                <c:formatCode>General</c:formatCode>
                <c:ptCount val="9"/>
                <c:pt idx="0">
                  <c:v>3.7564</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E$2:$AE$10</c:f>
              <c:numCache>
                <c:formatCode>General</c:formatCode>
                <c:ptCount val="9"/>
                <c:pt idx="0">
                  <c:v>2.875</c:v>
                </c:pt>
                <c:pt idx="3">
                  <c:v>2.9029</c:v>
                </c:pt>
                <c:pt idx="6">
                  <c:v>4.2461</c:v>
                </c:pt>
                <c:pt idx="7">
                  <c:v>4.5775</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F$2:$AF$10</c:f>
              <c:numCache>
                <c:formatCode>General</c:formatCode>
                <c:ptCount val="9"/>
                <c:pt idx="1">
                  <c:v>4.6334</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G$2:$AG$10</c:f>
              <c:numCache>
                <c:formatCode>General</c:formatCode>
                <c:ptCount val="9"/>
                <c:pt idx="3">
                  <c:v>3.7364</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H$2:$AH$10</c:f>
              <c:numCache>
                <c:formatCode>General</c:formatCode>
                <c:ptCount val="9"/>
                <c:pt idx="0">
                  <c:v>4.269</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I$2:$AI$10</c:f>
              <c:numCache>
                <c:formatCode>General</c:formatCode>
                <c:ptCount val="9"/>
                <c:pt idx="0">
                  <c:v>4.1538</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J$2:$AJ$10</c:f>
              <c:numCache>
                <c:formatCode>General</c:formatCode>
                <c:ptCount val="9"/>
                <c:pt idx="2">
                  <c:v>1.3387</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K$2:$AK$10</c:f>
              <c:numCache>
                <c:formatCode>General</c:formatCode>
                <c:ptCount val="9"/>
                <c:pt idx="2">
                  <c:v>1.722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B$2:$B$10</c:f>
              <c:numCache>
                <c:formatCode>General</c:formatCode>
                <c:ptCount val="9"/>
                <c:pt idx="2">
                  <c:v>3.4693</c:v>
                </c:pt>
                <c:pt idx="3">
                  <c:v>2.382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C$2:$C$10</c:f>
              <c:numCache>
                <c:formatCode>General</c:formatCode>
                <c:ptCount val="9"/>
                <c:pt idx="0">
                  <c:v>8.88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D$2:$D$10</c:f>
              <c:numCache>
                <c:formatCode>General</c:formatCode>
                <c:ptCount val="9"/>
                <c:pt idx="3">
                  <c:v>2.77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E$2:$E$10</c:f>
              <c:numCache>
                <c:formatCode>General</c:formatCode>
                <c:ptCount val="9"/>
                <c:pt idx="2">
                  <c:v>2.2364</c:v>
                </c:pt>
                <c:pt idx="3">
                  <c:v>2.3593</c:v>
                </c:pt>
                <c:pt idx="4">
                  <c:v>2.85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F$2:$F$10</c:f>
              <c:numCache>
                <c:formatCode>General</c:formatCode>
                <c:ptCount val="9"/>
                <c:pt idx="1">
                  <c:v>2.335</c:v>
                </c:pt>
                <c:pt idx="2">
                  <c:v>2.1341</c:v>
                </c:pt>
                <c:pt idx="3">
                  <c:v>1.3941</c:v>
                </c:pt>
                <c:pt idx="4">
                  <c:v>2.520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G$2:$G$10</c:f>
              <c:numCache>
                <c:formatCode>General</c:formatCode>
                <c:ptCount val="9"/>
                <c:pt idx="0">
                  <c:v>2.043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H$2:$H$10</c:f>
              <c:numCache>
                <c:formatCode>General</c:formatCode>
                <c:ptCount val="9"/>
                <c:pt idx="2">
                  <c:v>2.03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I$2:$I$10</c:f>
              <c:numCache>
                <c:formatCode>General</c:formatCode>
                <c:ptCount val="9"/>
                <c:pt idx="0">
                  <c:v>2.25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J$2:$J$10</c:f>
              <c:numCache>
                <c:formatCode>General</c:formatCode>
                <c:ptCount val="9"/>
                <c:pt idx="1">
                  <c:v>2.303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K$2:$K$10</c:f>
              <c:numCache>
                <c:formatCode>General</c:formatCode>
                <c:ptCount val="9"/>
                <c:pt idx="2">
                  <c:v>2.2631</c:v>
                </c:pt>
                <c:pt idx="3">
                  <c:v>2.0529</c:v>
                </c:pt>
                <c:pt idx="4">
                  <c:v>3.3183</c:v>
                </c:pt>
                <c:pt idx="8">
                  <c:v>2.50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L$2:$L$10</c:f>
              <c:numCache>
                <c:formatCode>General</c:formatCode>
                <c:ptCount val="9"/>
                <c:pt idx="1">
                  <c:v>2.7165</c:v>
                </c:pt>
                <c:pt idx="2">
                  <c:v>2.573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M$2:$M$10</c:f>
              <c:numCache>
                <c:formatCode>General</c:formatCode>
                <c:ptCount val="9"/>
                <c:pt idx="0">
                  <c:v>2.2818</c:v>
                </c:pt>
                <c:pt idx="1">
                  <c:v>2.296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N$2:$N$10</c:f>
              <c:numCache>
                <c:formatCode>General</c:formatCode>
                <c:ptCount val="9"/>
                <c:pt idx="3">
                  <c:v>2.2012</c:v>
                </c:pt>
                <c:pt idx="4">
                  <c:v>3.5492</c:v>
                </c:pt>
                <c:pt idx="5">
                  <c:v>2.0531</c:v>
                </c:pt>
                <c:pt idx="6">
                  <c:v>2.7413</c:v>
                </c:pt>
                <c:pt idx="8">
                  <c:v>2.489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O$2:$O$10</c:f>
              <c:numCache>
                <c:formatCode>General</c:formatCode>
                <c:ptCount val="9"/>
                <c:pt idx="0">
                  <c:v>2.764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P$2:$P$10</c:f>
              <c:numCache>
                <c:formatCode>General</c:formatCode>
                <c:ptCount val="9"/>
                <c:pt idx="3">
                  <c:v>2.5657</c:v>
                </c:pt>
                <c:pt idx="4">
                  <c:v>3.8014</c:v>
                </c:pt>
                <c:pt idx="6">
                  <c:v>2.4202</c:v>
                </c:pt>
                <c:pt idx="7">
                  <c:v>3.218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Q$2:$Q$10</c:f>
              <c:numCache>
                <c:formatCode>General</c:formatCode>
                <c:ptCount val="9"/>
                <c:pt idx="1">
                  <c:v>3.2997</c:v>
                </c:pt>
                <c:pt idx="2">
                  <c:v>2.843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R$2:$R$10</c:f>
              <c:numCache>
                <c:formatCode>General</c:formatCode>
                <c:ptCount val="9"/>
                <c:pt idx="1">
                  <c:v>2.980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S$2:$S$10</c:f>
              <c:numCache>
                <c:formatCode>General</c:formatCode>
                <c:ptCount val="9"/>
                <c:pt idx="1">
                  <c:v>2.6</c:v>
                </c:pt>
                <c:pt idx="3">
                  <c:v>2.135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T$2:$T$10</c:f>
              <c:numCache>
                <c:formatCode>General</c:formatCode>
                <c:ptCount val="9"/>
                <c:pt idx="2">
                  <c:v>3.4199</c:v>
                </c:pt>
                <c:pt idx="3">
                  <c:v>2.2867</c:v>
                </c:pt>
                <c:pt idx="4">
                  <c:v>3.4183</c:v>
                </c:pt>
                <c:pt idx="5">
                  <c:v>2.073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U$2:$U$10</c:f>
              <c:numCache>
                <c:formatCode>General</c:formatCode>
                <c:ptCount val="9"/>
                <c:pt idx="0">
                  <c:v>3.5564</c:v>
                </c:pt>
                <c:pt idx="2">
                  <c:v>3.41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V$2:$V$10</c:f>
              <c:numCache>
                <c:formatCode>General</c:formatCode>
                <c:ptCount val="9"/>
                <c:pt idx="0">
                  <c:v>3.132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W$2:$W$10</c:f>
              <c:numCache>
                <c:formatCode>General</c:formatCode>
                <c:ptCount val="9"/>
                <c:pt idx="0">
                  <c:v>3.6339</c:v>
                </c:pt>
                <c:pt idx="1">
                  <c:v>3.5971</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X$2:$X$10</c:f>
              <c:numCache>
                <c:formatCode>General</c:formatCode>
                <c:ptCount val="9"/>
                <c:pt idx="3">
                  <c:v>2.3175</c:v>
                </c:pt>
                <c:pt idx="6">
                  <c:v>3.2568</c:v>
                </c:pt>
                <c:pt idx="7">
                  <c:v>3.5177</c:v>
                </c:pt>
                <c:pt idx="8">
                  <c:v>3.649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Y$2:$Y$10</c:f>
              <c:numCache>
                <c:formatCode>General</c:formatCode>
                <c:ptCount val="9"/>
                <c:pt idx="2">
                  <c:v>3.728</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Z$2:$Z$10</c:f>
              <c:numCache>
                <c:formatCode>General</c:formatCode>
                <c:ptCount val="9"/>
                <c:pt idx="0">
                  <c:v>1.428</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A$2:$AA$10</c:f>
              <c:numCache>
                <c:formatCode>General</c:formatCode>
                <c:ptCount val="9"/>
                <c:pt idx="3">
                  <c:v>2.2848</c:v>
                </c:pt>
                <c:pt idx="5">
                  <c:v>2.8197</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B$2:$AB$10</c:f>
              <c:numCache>
                <c:formatCode>General</c:formatCode>
                <c:ptCount val="9"/>
                <c:pt idx="3">
                  <c:v>2.7354</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C$2:$AC$10</c:f>
              <c:numCache>
                <c:formatCode>General</c:formatCode>
                <c:ptCount val="9"/>
                <c:pt idx="0">
                  <c:v>3.7242</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D$2:$AD$10</c:f>
              <c:numCache>
                <c:formatCode>General</c:formatCode>
                <c:ptCount val="9"/>
                <c:pt idx="3">
                  <c:v>3.2874</c:v>
                </c:pt>
                <c:pt idx="6">
                  <c:v>4.2506</c:v>
                </c:pt>
                <c:pt idx="8">
                  <c:v>4.6614</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E$2:$AE$10</c:f>
              <c:numCache>
                <c:formatCode>General</c:formatCode>
                <c:ptCount val="9"/>
                <c:pt idx="1">
                  <c:v>4.227</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F$2:$AF$10</c:f>
              <c:numCache>
                <c:formatCode>General</c:formatCode>
                <c:ptCount val="9"/>
                <c:pt idx="3">
                  <c:v>3.8168</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G$2:$AG$10</c:f>
              <c:numCache>
                <c:formatCode>General</c:formatCode>
                <c:ptCount val="9"/>
                <c:pt idx="0">
                  <c:v>3.9066</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H$2:$AH$10</c:f>
              <c:numCache>
                <c:formatCode>General</c:formatCode>
                <c:ptCount val="9"/>
                <c:pt idx="2">
                  <c:v>1.2995</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I$2:$AI$10</c:f>
              <c:numCache>
                <c:formatCode>General</c:formatCode>
                <c:ptCount val="9"/>
                <c:pt idx="2">
                  <c:v>1.6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B$2:$B$10</c:f>
              <c:numCache>
                <c:formatCode>General</c:formatCode>
                <c:ptCount val="9"/>
                <c:pt idx="1">
                  <c:v>3.3627</c:v>
                </c:pt>
                <c:pt idx="3">
                  <c:v>2.649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C$2:$C$10</c:f>
              <c:numCache>
                <c:formatCode>General</c:formatCode>
                <c:ptCount val="9"/>
                <c:pt idx="1">
                  <c:v>2.337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D$2:$D$10</c:f>
              <c:numCache>
                <c:formatCode>General</c:formatCode>
                <c:ptCount val="9"/>
                <c:pt idx="1">
                  <c:v>2.2609</c:v>
                </c:pt>
                <c:pt idx="2">
                  <c:v>2.3821</c:v>
                </c:pt>
                <c:pt idx="3">
                  <c:v>1.28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E$2:$E$10</c:f>
              <c:numCache>
                <c:formatCode>General</c:formatCode>
                <c:ptCount val="9"/>
                <c:pt idx="0">
                  <c:v>1.916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33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F$2:$F$10</c:f>
              <c:numCache>
                <c:formatCode>General</c:formatCode>
                <c:ptCount val="9"/>
                <c:pt idx="0">
                  <c:v>2.365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G$2:$G$10</c:f>
              <c:numCache>
                <c:formatCode>General</c:formatCode>
                <c:ptCount val="9"/>
                <c:pt idx="2">
                  <c:v>2.333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H$2:$H$10</c:f>
              <c:numCache>
                <c:formatCode>General</c:formatCode>
                <c:ptCount val="9"/>
                <c:pt idx="1">
                  <c:v>2.2536</c:v>
                </c:pt>
                <c:pt idx="3">
                  <c:v>1.7326</c:v>
                </c:pt>
                <c:pt idx="7">
                  <c:v>2.257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I$2:$I$10</c:f>
              <c:numCache>
                <c:formatCode>General</c:formatCode>
                <c:ptCount val="9"/>
                <c:pt idx="1">
                  <c:v>2.4615</c:v>
                </c:pt>
                <c:pt idx="2">
                  <c:v>2.521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J$2:$J$10</c:f>
              <c:numCache>
                <c:formatCode>General</c:formatCode>
                <c:ptCount val="9"/>
                <c:pt idx="0">
                  <c:v>2.4007</c:v>
                </c:pt>
                <c:pt idx="2">
                  <c:v>2.368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K$2:$K$10</c:f>
              <c:numCache>
                <c:formatCode>General</c:formatCode>
                <c:ptCount val="9"/>
                <c:pt idx="3">
                  <c:v>2.5992</c:v>
                </c:pt>
                <c:pt idx="4">
                  <c:v>2.1227</c:v>
                </c:pt>
                <c:pt idx="5">
                  <c:v>2.7021</c:v>
                </c:pt>
                <c:pt idx="7">
                  <c:v>2.310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L$2:$L$10</c:f>
              <c:numCache>
                <c:formatCode>General</c:formatCode>
                <c:ptCount val="9"/>
                <c:pt idx="0">
                  <c:v>2.489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M$2:$M$10</c:f>
              <c:numCache>
                <c:formatCode>General</c:formatCode>
                <c:ptCount val="9"/>
                <c:pt idx="3">
                  <c:v>2.3764</c:v>
                </c:pt>
                <c:pt idx="5">
                  <c:v>2.2594</c:v>
                </c:pt>
                <c:pt idx="8">
                  <c:v>3.055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1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N$2:$N$10</c:f>
              <c:numCache>
                <c:formatCode>General</c:formatCode>
                <c:ptCount val="9"/>
                <c:pt idx="2">
                  <c:v>3.420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O$2:$O$10</c:f>
              <c:numCache>
                <c:formatCode>General</c:formatCode>
                <c:ptCount val="9"/>
                <c:pt idx="2">
                  <c:v>2.95</c:v>
                </c:pt>
                <c:pt idx="3">
                  <c:v>1.879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P$2:$P$10</c:f>
              <c:numCache>
                <c:formatCode>General</c:formatCode>
                <c:ptCount val="9"/>
                <c:pt idx="1">
                  <c:v>3.2565</c:v>
                </c:pt>
                <c:pt idx="3">
                  <c:v>1.8411</c:v>
                </c:pt>
                <c:pt idx="4">
                  <c:v>2.1224</c:v>
                </c:pt>
                <c:pt idx="6">
                  <c:v>2.978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Q$2:$Q$10</c:f>
              <c:numCache>
                <c:formatCode>General</c:formatCode>
                <c:ptCount val="9"/>
                <c:pt idx="0">
                  <c:v>3.3684</c:v>
                </c:pt>
                <c:pt idx="1">
                  <c:v>3.3242</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R$2:$R$10</c:f>
              <c:numCache>
                <c:formatCode>General</c:formatCode>
                <c:ptCount val="9"/>
                <c:pt idx="0">
                  <c:v>3.116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S$2:$S$10</c:f>
              <c:numCache>
                <c:formatCode>General</c:formatCode>
                <c:ptCount val="9"/>
                <c:pt idx="0">
                  <c:v>3.9313</c:v>
                </c:pt>
                <c:pt idx="2">
                  <c:v>3.6393</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T$2:$T$10</c:f>
              <c:numCache>
                <c:formatCode>General</c:formatCode>
                <c:ptCount val="9"/>
                <c:pt idx="3">
                  <c:v>2.4459</c:v>
                </c:pt>
                <c:pt idx="5">
                  <c:v>3.2147</c:v>
                </c:pt>
                <c:pt idx="7">
                  <c:v>3.6262</c:v>
                </c:pt>
                <c:pt idx="8">
                  <c:v>3.703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U$2:$U$10</c:f>
              <c:numCache>
                <c:formatCode>General</c:formatCode>
                <c:ptCount val="9"/>
                <c:pt idx="3">
                  <c:v>2.2509</c:v>
                </c:pt>
                <c:pt idx="4">
                  <c:v>2.939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V$2:$V$10</c:f>
              <c:numCache>
                <c:formatCode>General</c:formatCode>
                <c:ptCount val="9"/>
                <c:pt idx="0">
                  <c:v>3.94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W$2:$W$10</c:f>
              <c:numCache>
                <c:formatCode>General</c:formatCode>
                <c:ptCount val="9"/>
                <c:pt idx="3">
                  <c:v>3.1638</c:v>
                </c:pt>
                <c:pt idx="5">
                  <c:v>4.2512</c:v>
                </c:pt>
                <c:pt idx="7">
                  <c:v>4.5582</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X$2:$X$10</c:f>
              <c:numCache>
                <c:formatCode>General</c:formatCode>
                <c:ptCount val="9"/>
                <c:pt idx="2">
                  <c:v>5.093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Y$2:$Y$10</c:f>
              <c:numCache>
                <c:formatCode>General</c:formatCode>
                <c:ptCount val="9"/>
                <c:pt idx="3">
                  <c:v>3.775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Z$2:$Z$10</c:f>
              <c:numCache>
                <c:formatCode>General</c:formatCode>
                <c:ptCount val="9"/>
                <c:pt idx="0">
                  <c:v>4.63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AA$2:$AA$10</c:f>
              <c:numCache>
                <c:formatCode>General</c:formatCode>
                <c:ptCount val="9"/>
                <c:pt idx="3">
                  <c:v>2.100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AB$2:$AB$10</c:f>
              <c:numCache>
                <c:formatCode>General</c:formatCode>
                <c:ptCount val="9"/>
                <c:pt idx="1">
                  <c:v>1.402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Soignon</c:v>
                </c:pt>
                <c:pt idx="6">
                  <c:v>All Others</c:v>
                </c:pt>
                <c:pt idx="7">
                  <c:v>St Moret</c:v>
                </c:pt>
                <c:pt idx="8">
                  <c:v>Caprice Des Dieux</c:v>
                </c:pt>
              </c:strCache>
            </c:strRef>
          </c:cat>
          <c:val>
            <c:numRef>
              <c:f>Sheet1!$AC$2:$AC$10</c:f>
              <c:numCache>
                <c:formatCode>General</c:formatCode>
                <c:ptCount val="9"/>
                <c:pt idx="1">
                  <c:v>1.7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B$2:$B$10</c:f>
              <c:numCache>
                <c:formatCode>General</c:formatCode>
                <c:ptCount val="9"/>
                <c:pt idx="1">
                  <c:v>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C$2:$C$10</c:f>
              <c:numCache>
                <c:formatCode>General</c:formatCode>
                <c:ptCount val="9"/>
                <c:pt idx="0">
                  <c:v>8.88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D$2:$D$10</c:f>
              <c:numCache>
                <c:formatCode>General</c:formatCode>
                <c:ptCount val="9"/>
                <c:pt idx="0">
                  <c:v>2.2421</c:v>
                </c:pt>
                <c:pt idx="2">
                  <c:v>2.2454</c:v>
                </c:pt>
                <c:pt idx="3">
                  <c:v>2.1683</c:v>
                </c:pt>
                <c:pt idx="4">
                  <c:v>2.944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E$2:$E$10</c:f>
              <c:numCache>
                <c:formatCode>General</c:formatCode>
                <c:ptCount val="9"/>
                <c:pt idx="1">
                  <c:v>2.2961</c:v>
                </c:pt>
                <c:pt idx="2">
                  <c:v>2.3233</c:v>
                </c:pt>
                <c:pt idx="3">
                  <c:v>1.31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F$2:$F$10</c:f>
              <c:numCache>
                <c:formatCode>General</c:formatCode>
                <c:ptCount val="9"/>
                <c:pt idx="0">
                  <c:v>2.03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G$2:$G$10</c:f>
              <c:numCache>
                <c:formatCode>General</c:formatCode>
                <c:ptCount val="9"/>
                <c:pt idx="0">
                  <c:v>2.3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H$2:$H$10</c:f>
              <c:numCache>
                <c:formatCode>General</c:formatCode>
                <c:ptCount val="9"/>
                <c:pt idx="1">
                  <c:v>2.31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I$2:$I$10</c:f>
              <c:numCache>
                <c:formatCode>General</c:formatCode>
                <c:ptCount val="9"/>
                <c:pt idx="1">
                  <c:v>2.6524</c:v>
                </c:pt>
                <c:pt idx="2">
                  <c:v>2.1526</c:v>
                </c:pt>
                <c:pt idx="3">
                  <c:v>1.7789</c:v>
                </c:pt>
                <c:pt idx="4">
                  <c:v>3.2958</c:v>
                </c:pt>
                <c:pt idx="7">
                  <c:v>2.332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2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J$2:$J$10</c:f>
              <c:numCache>
                <c:formatCode>General</c:formatCode>
                <c:ptCount val="9"/>
                <c:pt idx="0">
                  <c:v>2.654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K$2:$K$10</c:f>
              <c:numCache>
                <c:formatCode>General</c:formatCode>
                <c:ptCount val="9"/>
                <c:pt idx="1">
                  <c:v>2.6647</c:v>
                </c:pt>
                <c:pt idx="2">
                  <c:v>2.4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L$2:$L$10</c:f>
              <c:numCache>
                <c:formatCode>General</c:formatCode>
                <c:ptCount val="9"/>
                <c:pt idx="0">
                  <c:v>2.16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M$2:$M$10</c:f>
              <c:numCache>
                <c:formatCode>General</c:formatCode>
                <c:ptCount val="9"/>
                <c:pt idx="0">
                  <c:v>2.3717</c:v>
                </c:pt>
                <c:pt idx="1">
                  <c:v>2.331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N$2:$N$10</c:f>
              <c:numCache>
                <c:formatCode>General</c:formatCode>
                <c:ptCount val="9"/>
                <c:pt idx="3">
                  <c:v>2.1045</c:v>
                </c:pt>
                <c:pt idx="4">
                  <c:v>3.1697</c:v>
                </c:pt>
                <c:pt idx="5">
                  <c:v>2.0325</c:v>
                </c:pt>
                <c:pt idx="6">
                  <c:v>2.6435</c:v>
                </c:pt>
                <c:pt idx="7">
                  <c:v>2.301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O$2:$O$10</c:f>
              <c:numCache>
                <c:formatCode>General</c:formatCode>
                <c:ptCount val="9"/>
                <c:pt idx="0">
                  <c:v>2.613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P$2:$P$10</c:f>
              <c:numCache>
                <c:formatCode>General</c:formatCode>
                <c:ptCount val="9"/>
                <c:pt idx="0">
                  <c:v>1.8857</c:v>
                </c:pt>
                <c:pt idx="3">
                  <c:v>2.3249</c:v>
                </c:pt>
                <c:pt idx="4">
                  <c:v>3.4752</c:v>
                </c:pt>
                <c:pt idx="6">
                  <c:v>2.2473</c:v>
                </c:pt>
                <c:pt idx="8">
                  <c:v>3.030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Q$2:$Q$10</c:f>
              <c:numCache>
                <c:formatCode>General</c:formatCode>
                <c:ptCount val="9"/>
                <c:pt idx="1">
                  <c:v>3.0883</c:v>
                </c:pt>
                <c:pt idx="2">
                  <c:v>2.93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R$2:$R$10</c:f>
              <c:numCache>
                <c:formatCode>General</c:formatCode>
                <c:ptCount val="9"/>
                <c:pt idx="1">
                  <c:v>2.861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S$2:$S$10</c:f>
              <c:numCache>
                <c:formatCode>General</c:formatCode>
                <c:ptCount val="9"/>
                <c:pt idx="1">
                  <c:v>3.3762</c:v>
                </c:pt>
                <c:pt idx="3">
                  <c:v>1.967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T$2:$T$10</c:f>
              <c:numCache>
                <c:formatCode>General</c:formatCode>
                <c:ptCount val="9"/>
                <c:pt idx="2">
                  <c:v>3.2924</c:v>
                </c:pt>
                <c:pt idx="3">
                  <c:v>2.0734</c:v>
                </c:pt>
                <c:pt idx="4">
                  <c:v>3.1079</c:v>
                </c:pt>
                <c:pt idx="5">
                  <c:v>2.038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U$2:$U$10</c:f>
              <c:numCache>
                <c:formatCode>General</c:formatCode>
                <c:ptCount val="9"/>
                <c:pt idx="0">
                  <c:v>2.9342</c:v>
                </c:pt>
                <c:pt idx="2">
                  <c:v>3.367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V$2:$V$10</c:f>
              <c:numCache>
                <c:formatCode>General</c:formatCode>
                <c:ptCount val="9"/>
                <c:pt idx="0">
                  <c:v>3.09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W$2:$W$10</c:f>
              <c:numCache>
                <c:formatCode>General</c:formatCode>
                <c:ptCount val="9"/>
                <c:pt idx="0">
                  <c:v>3.7054</c:v>
                </c:pt>
                <c:pt idx="1">
                  <c:v>3.557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X$2:$X$10</c:f>
              <c:numCache>
                <c:formatCode>General</c:formatCode>
                <c:ptCount val="9"/>
                <c:pt idx="3">
                  <c:v>2.3258</c:v>
                </c:pt>
                <c:pt idx="6">
                  <c:v>3.1867</c:v>
                </c:pt>
                <c:pt idx="7">
                  <c:v>3.5305</c:v>
                </c:pt>
                <c:pt idx="8">
                  <c:v>3.501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Y$2:$Y$10</c:f>
              <c:numCache>
                <c:formatCode>General</c:formatCode>
                <c:ptCount val="9"/>
                <c:pt idx="2">
                  <c:v>3.639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Z$2:$Z$10</c:f>
              <c:numCache>
                <c:formatCode>General</c:formatCode>
                <c:ptCount val="9"/>
                <c:pt idx="0">
                  <c:v>1.440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A$2:$AA$10</c:f>
              <c:numCache>
                <c:formatCode>General</c:formatCode>
                <c:ptCount val="9"/>
                <c:pt idx="3">
                  <c:v>2.2444</c:v>
                </c:pt>
                <c:pt idx="5">
                  <c:v>2.8563</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B$2:$AB$10</c:f>
              <c:numCache>
                <c:formatCode>General</c:formatCode>
                <c:ptCount val="9"/>
                <c:pt idx="3">
                  <c:v>2.6872</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C$2:$AC$10</c:f>
              <c:numCache>
                <c:formatCode>General</c:formatCode>
                <c:ptCount val="9"/>
                <c:pt idx="0">
                  <c:v>3.756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D$2:$AD$10</c:f>
              <c:numCache>
                <c:formatCode>General</c:formatCode>
                <c:ptCount val="9"/>
                <c:pt idx="0">
                  <c:v>2.875</c:v>
                </c:pt>
                <c:pt idx="3">
                  <c:v>2.9029</c:v>
                </c:pt>
                <c:pt idx="6">
                  <c:v>4.2461</c:v>
                </c:pt>
                <c:pt idx="7">
                  <c:v>4.577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E$2:$AE$10</c:f>
              <c:numCache>
                <c:formatCode>General</c:formatCode>
                <c:ptCount val="9"/>
                <c:pt idx="1">
                  <c:v>4.6334</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F$2:$AF$10</c:f>
              <c:numCache>
                <c:formatCode>General</c:formatCode>
                <c:ptCount val="9"/>
                <c:pt idx="3">
                  <c:v>3.7364</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G$2:$AG$10</c:f>
              <c:numCache>
                <c:formatCode>General</c:formatCode>
                <c:ptCount val="9"/>
                <c:pt idx="0">
                  <c:v>4.26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H$2:$AH$10</c:f>
              <c:numCache>
                <c:formatCode>General</c:formatCode>
                <c:ptCount val="9"/>
                <c:pt idx="0">
                  <c:v>4.153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I$2:$AI$10</c:f>
              <c:numCache>
                <c:formatCode>General</c:formatCode>
                <c:ptCount val="9"/>
                <c:pt idx="2">
                  <c:v>1.3387</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J$2:$AJ$10</c:f>
              <c:numCache>
                <c:formatCode>General</c:formatCode>
                <c:ptCount val="9"/>
                <c:pt idx="2">
                  <c:v>1.722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B$2:$B$10</c:f>
              <c:numCache>
                <c:formatCode>General</c:formatCode>
                <c:ptCount val="9"/>
                <c:pt idx="0">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C$2:$C$10</c:f>
              <c:numCache>
                <c:formatCode>General</c:formatCode>
                <c:ptCount val="9"/>
                <c:pt idx="3">
                  <c:v>2.7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D$2:$D$10</c:f>
              <c:numCache>
                <c:formatCode>General</c:formatCode>
                <c:ptCount val="9"/>
                <c:pt idx="2">
                  <c:v>2.2364</c:v>
                </c:pt>
                <c:pt idx="3">
                  <c:v>2.3593</c:v>
                </c:pt>
                <c:pt idx="4">
                  <c:v>2.84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E$2:$E$10</c:f>
              <c:numCache>
                <c:formatCode>General</c:formatCode>
                <c:ptCount val="9"/>
                <c:pt idx="1">
                  <c:v>2.335</c:v>
                </c:pt>
                <c:pt idx="2">
                  <c:v>2.1341</c:v>
                </c:pt>
                <c:pt idx="3">
                  <c:v>1.3941</c:v>
                </c:pt>
                <c:pt idx="4">
                  <c:v>2.51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F$2:$F$10</c:f>
              <c:numCache>
                <c:formatCode>General</c:formatCode>
                <c:ptCount val="9"/>
                <c:pt idx="0">
                  <c:v>2.04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G$2:$G$10</c:f>
              <c:numCache>
                <c:formatCode>General</c:formatCode>
                <c:ptCount val="9"/>
                <c:pt idx="0">
                  <c:v>2.25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H$2:$H$10</c:f>
              <c:numCache>
                <c:formatCode>General</c:formatCode>
                <c:ptCount val="9"/>
                <c:pt idx="1">
                  <c:v>2.303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I$2:$I$10</c:f>
              <c:numCache>
                <c:formatCode>General</c:formatCode>
                <c:ptCount val="9"/>
                <c:pt idx="2">
                  <c:v>2.2631</c:v>
                </c:pt>
                <c:pt idx="3">
                  <c:v>2.0529</c:v>
                </c:pt>
                <c:pt idx="4">
                  <c:v>3.3091</c:v>
                </c:pt>
                <c:pt idx="8">
                  <c:v>2.50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J$2:$J$10</c:f>
              <c:numCache>
                <c:formatCode>General</c:formatCode>
                <c:ptCount val="9"/>
                <c:pt idx="1">
                  <c:v>2.7165</c:v>
                </c:pt>
                <c:pt idx="2">
                  <c:v>2.573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K$2:$K$10</c:f>
              <c:numCache>
                <c:formatCode>General</c:formatCode>
                <c:ptCount val="9"/>
                <c:pt idx="0">
                  <c:v>2.2818</c:v>
                </c:pt>
                <c:pt idx="1">
                  <c:v>2.29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L$2:$L$10</c:f>
              <c:numCache>
                <c:formatCode>General</c:formatCode>
                <c:ptCount val="9"/>
                <c:pt idx="3">
                  <c:v>2.2012</c:v>
                </c:pt>
                <c:pt idx="4">
                  <c:v>3.5469</c:v>
                </c:pt>
                <c:pt idx="5">
                  <c:v>2.0531</c:v>
                </c:pt>
                <c:pt idx="6">
                  <c:v>2.7413</c:v>
                </c:pt>
                <c:pt idx="8">
                  <c:v>2.489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9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M$2:$M$10</c:f>
              <c:numCache>
                <c:formatCode>General</c:formatCode>
                <c:ptCount val="9"/>
                <c:pt idx="0">
                  <c:v>2.764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N$2:$N$10</c:f>
              <c:numCache>
                <c:formatCode>General</c:formatCode>
                <c:ptCount val="9"/>
                <c:pt idx="3">
                  <c:v>2.5657</c:v>
                </c:pt>
                <c:pt idx="4">
                  <c:v>3.7975</c:v>
                </c:pt>
                <c:pt idx="6">
                  <c:v>2.4202</c:v>
                </c:pt>
                <c:pt idx="7">
                  <c:v>3.218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O$2:$O$10</c:f>
              <c:numCache>
                <c:formatCode>General</c:formatCode>
                <c:ptCount val="9"/>
                <c:pt idx="1">
                  <c:v>3.2997</c:v>
                </c:pt>
                <c:pt idx="2">
                  <c:v>2.843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P$2:$P$10</c:f>
              <c:numCache>
                <c:formatCode>General</c:formatCode>
                <c:ptCount val="9"/>
                <c:pt idx="1">
                  <c:v>2.980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Q$2:$Q$10</c:f>
              <c:numCache>
                <c:formatCode>General</c:formatCode>
                <c:ptCount val="9"/>
                <c:pt idx="1">
                  <c:v>2.6</c:v>
                </c:pt>
                <c:pt idx="3">
                  <c:v>2.135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R$2:$R$10</c:f>
              <c:numCache>
                <c:formatCode>General</c:formatCode>
                <c:ptCount val="9"/>
                <c:pt idx="2">
                  <c:v>3.4199</c:v>
                </c:pt>
                <c:pt idx="3">
                  <c:v>2.2867</c:v>
                </c:pt>
                <c:pt idx="4">
                  <c:v>3.4183</c:v>
                </c:pt>
                <c:pt idx="5">
                  <c:v>2.073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S$2:$S$10</c:f>
              <c:numCache>
                <c:formatCode>General</c:formatCode>
                <c:ptCount val="9"/>
                <c:pt idx="0">
                  <c:v>3.5564</c:v>
                </c:pt>
                <c:pt idx="2">
                  <c:v>3.41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T$2:$T$10</c:f>
              <c:numCache>
                <c:formatCode>General</c:formatCode>
                <c:ptCount val="9"/>
                <c:pt idx="0">
                  <c:v>3.132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U$2:$U$10</c:f>
              <c:numCache>
                <c:formatCode>General</c:formatCode>
                <c:ptCount val="9"/>
                <c:pt idx="0">
                  <c:v>3.6339</c:v>
                </c:pt>
                <c:pt idx="1">
                  <c:v>3.597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V$2:$V$10</c:f>
              <c:numCache>
                <c:formatCode>General</c:formatCode>
                <c:ptCount val="9"/>
                <c:pt idx="3">
                  <c:v>2.3175</c:v>
                </c:pt>
                <c:pt idx="6">
                  <c:v>3.2568</c:v>
                </c:pt>
                <c:pt idx="7">
                  <c:v>3.5177</c:v>
                </c:pt>
                <c:pt idx="8">
                  <c:v>3.6497</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W$2:$W$10</c:f>
              <c:numCache>
                <c:formatCode>General</c:formatCode>
                <c:ptCount val="9"/>
                <c:pt idx="2">
                  <c:v>3.72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X$2:$X$10</c:f>
              <c:numCache>
                <c:formatCode>General</c:formatCode>
                <c:ptCount val="9"/>
                <c:pt idx="0">
                  <c:v>1.42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Y$2:$Y$10</c:f>
              <c:numCache>
                <c:formatCode>General</c:formatCode>
                <c:ptCount val="9"/>
                <c:pt idx="3">
                  <c:v>2.2848</c:v>
                </c:pt>
                <c:pt idx="5">
                  <c:v>2.819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Z$2:$Z$10</c:f>
              <c:numCache>
                <c:formatCode>General</c:formatCode>
                <c:ptCount val="9"/>
                <c:pt idx="3">
                  <c:v>2.735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A$2:$AA$10</c:f>
              <c:numCache>
                <c:formatCode>General</c:formatCode>
                <c:ptCount val="9"/>
                <c:pt idx="0">
                  <c:v>3.724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B$2:$AB$10</c:f>
              <c:numCache>
                <c:formatCode>General</c:formatCode>
                <c:ptCount val="9"/>
                <c:pt idx="3">
                  <c:v>3.2874</c:v>
                </c:pt>
                <c:pt idx="6">
                  <c:v>4.2506</c:v>
                </c:pt>
                <c:pt idx="8">
                  <c:v>4.6614</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C$2:$AC$10</c:f>
              <c:numCache>
                <c:formatCode>General</c:formatCode>
                <c:ptCount val="9"/>
                <c:pt idx="1">
                  <c:v>4.227</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D$2:$AD$10</c:f>
              <c:numCache>
                <c:formatCode>General</c:formatCode>
                <c:ptCount val="9"/>
                <c:pt idx="3">
                  <c:v>3.8168</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E$2:$AE$10</c:f>
              <c:numCache>
                <c:formatCode>General</c:formatCode>
                <c:ptCount val="9"/>
                <c:pt idx="0">
                  <c:v>3.906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F$2:$AF$10</c:f>
              <c:numCache>
                <c:formatCode>General</c:formatCode>
                <c:ptCount val="9"/>
                <c:pt idx="2">
                  <c:v>1.2995</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G$2:$AG$10</c:f>
              <c:numCache>
                <c:formatCode>General</c:formatCode>
                <c:ptCount val="9"/>
                <c:pt idx="2">
                  <c:v>1.6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2.37</a:t>
                    </a:r>
                  </a:p>
                </c:rich>
              </c:tx>
              <c:dLblPos val="t"/>
              <c:showLegendKey val="0"/>
              <c:showVal val="1"/>
              <c:showCatName val="0"/>
              <c:showSerName val="0"/>
              <c:showPercent val="0"/>
              <c:showBubbleSize val="0"/>
            </c:dLbl>
            <c:dLbl>
              <c:idx val="5"/>
              <c:tx>
                <c:rich>
                  <a:bodyPr/>
                  <a:lstStyle/>
                  <a:p>
                    <a:r>
                      <a:t>1.73</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2.3</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33</a:t>
                    </a:r>
                  </a:p>
                </c:rich>
              </c:tx>
              <c:dLblPos val="t"/>
              <c:showLegendKey val="0"/>
              <c:showVal val="1"/>
              <c:showCatName val="0"/>
              <c:showSerName val="0"/>
              <c:showPercent val="0"/>
              <c:showBubbleSize val="0"/>
            </c:dLbl>
            <c:dLbl>
              <c:idx val="11"/>
              <c:tx>
                <c:rich>
                  <a:bodyPr/>
                  <a:lstStyle/>
                  <a:p>
                    <a:r>
                      <a:t>2.59</a:t>
                    </a:r>
                  </a:p>
                </c:rich>
              </c:tx>
              <c:dLblPos val="t"/>
              <c:showLegendKey val="0"/>
              <c:showVal val="1"/>
              <c:showCatName val="0"/>
              <c:showSerName val="0"/>
              <c:showPercent val="0"/>
              <c:showBubbleSize val="0"/>
            </c:dLbl>
            <c:dLbl>
              <c:idx val="12"/>
              <c:tx>
                <c:rich>
                  <a:bodyPr/>
                  <a:lstStyle/>
                  <a:p>
                    <a:r>
                      <a:t>3.54</a:t>
                    </a:r>
                  </a:p>
                </c:rich>
              </c:tx>
              <c:dLblPos val="t"/>
              <c:showLegendKey val="0"/>
              <c:showVal val="1"/>
              <c:showCatName val="0"/>
              <c:showSerName val="0"/>
              <c:showPercent val="0"/>
              <c:showBubbleSize val="0"/>
            </c:dLbl>
            <c:dLbl>
              <c:idx val="13"/>
              <c:tx>
                <c:rich>
                  <a:bodyPr/>
                  <a:lstStyle/>
                  <a:p>
                    <a:r>
                      <a:t>3.55</a:t>
                    </a:r>
                  </a:p>
                </c:rich>
              </c:tx>
              <c:dLblPos val="t"/>
              <c:showLegendKey val="0"/>
              <c:showVal val="1"/>
              <c:showCatName val="0"/>
              <c:showSerName val="0"/>
              <c:showPercent val="0"/>
              <c:showBubbleSize val="0"/>
            </c:dLbl>
            <c:dLbl>
              <c:idx val="14"/>
              <c:tx>
                <c:rich>
                  <a:bodyPr/>
                  <a:lstStyle/>
                  <a:p>
                    <a:r>
                      <a:t>3.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4</c:v>
                </c:pt>
                <c:pt idx="1">
                  <c:v>2.5</c:v>
                </c:pt>
                <c:pt idx="2">
                  <c:v>3.41</c:v>
                </c:pt>
                <c:pt idx="3">
                  <c:v>2.37</c:v>
                </c:pt>
                <c:pt idx="4">
                  <c:v>2.37</c:v>
                </c:pt>
                <c:pt idx="5">
                  <c:v>1.73</c:v>
                </c:pt>
                <c:pt idx="6">
                  <c:v>2.38</c:v>
                </c:pt>
                <c:pt idx="7">
                  <c:v>2.32</c:v>
                </c:pt>
                <c:pt idx="8">
                  <c:v>2.3</c:v>
                </c:pt>
                <c:pt idx="9">
                  <c:v>3.67</c:v>
                </c:pt>
                <c:pt idx="10">
                  <c:v>2.33</c:v>
                </c:pt>
                <c:pt idx="11">
                  <c:v>2.59</c:v>
                </c:pt>
                <c:pt idx="12">
                  <c:v>3.54</c:v>
                </c:pt>
                <c:pt idx="13">
                  <c:v>3.55</c:v>
                </c:pt>
                <c:pt idx="14">
                  <c:v>3.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B$2:$B$10</c:f>
              <c:numCache>
                <c:formatCode>General</c:formatCode>
                <c:ptCount val="9"/>
                <c:pt idx="2">
                  <c:v>2.33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C$2:$C$10</c:f>
              <c:numCache>
                <c:formatCode>General</c:formatCode>
                <c:ptCount val="9"/>
                <c:pt idx="1">
                  <c:v>2.3821</c:v>
                </c:pt>
                <c:pt idx="2">
                  <c:v>2.2609</c:v>
                </c:pt>
                <c:pt idx="3">
                  <c:v>1.28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D$2:$D$10</c:f>
              <c:numCache>
                <c:formatCode>General</c:formatCode>
                <c:ptCount val="9"/>
                <c:pt idx="0">
                  <c:v>1.91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E$2:$E$10</c:f>
              <c:numCache>
                <c:formatCode>General</c:formatCode>
                <c:ptCount val="9"/>
                <c:pt idx="0">
                  <c:v>2.36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F$2:$F$10</c:f>
              <c:numCache>
                <c:formatCode>General</c:formatCode>
                <c:ptCount val="9"/>
                <c:pt idx="1">
                  <c:v>2.33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G$2:$G$10</c:f>
              <c:numCache>
                <c:formatCode>General</c:formatCode>
                <c:ptCount val="9"/>
                <c:pt idx="2">
                  <c:v>2.2536</c:v>
                </c:pt>
                <c:pt idx="3">
                  <c:v>1.7326</c:v>
                </c:pt>
                <c:pt idx="7">
                  <c:v>2.25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H$2:$H$10</c:f>
              <c:numCache>
                <c:formatCode>General</c:formatCode>
                <c:ptCount val="9"/>
                <c:pt idx="1">
                  <c:v>2.5216</c:v>
                </c:pt>
                <c:pt idx="2">
                  <c:v>2.461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I$2:$I$10</c:f>
              <c:numCache>
                <c:formatCode>General</c:formatCode>
                <c:ptCount val="9"/>
                <c:pt idx="0">
                  <c:v>2.4007</c:v>
                </c:pt>
                <c:pt idx="1">
                  <c:v>2.36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J$2:$J$10</c:f>
              <c:numCache>
                <c:formatCode>General</c:formatCode>
                <c:ptCount val="9"/>
                <c:pt idx="3">
                  <c:v>2.5992</c:v>
                </c:pt>
                <c:pt idx="4">
                  <c:v>2.1227</c:v>
                </c:pt>
                <c:pt idx="5">
                  <c:v>2.7021</c:v>
                </c:pt>
                <c:pt idx="6">
                  <c:v>2.8776</c:v>
                </c:pt>
                <c:pt idx="7">
                  <c:v>2.310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K$2:$K$10</c:f>
              <c:numCache>
                <c:formatCode>General</c:formatCode>
                <c:ptCount val="9"/>
                <c:pt idx="0">
                  <c:v>2.48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L$2:$L$10</c:f>
              <c:numCache>
                <c:formatCode>General</c:formatCode>
                <c:ptCount val="9"/>
                <c:pt idx="3">
                  <c:v>2.3788</c:v>
                </c:pt>
                <c:pt idx="5">
                  <c:v>2.2594</c:v>
                </c:pt>
                <c:pt idx="8">
                  <c:v>3.055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M$2:$M$10</c:f>
              <c:numCache>
                <c:formatCode>General</c:formatCode>
                <c:ptCount val="9"/>
                <c:pt idx="1">
                  <c:v>3.420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16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N$2:$N$10</c:f>
              <c:numCache>
                <c:formatCode>General</c:formatCode>
                <c:ptCount val="9"/>
                <c:pt idx="1">
                  <c:v>2.95</c:v>
                </c:pt>
                <c:pt idx="3">
                  <c:v>1.879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O$2:$O$10</c:f>
              <c:numCache>
                <c:formatCode>General</c:formatCode>
                <c:ptCount val="9"/>
                <c:pt idx="2">
                  <c:v>3.2565</c:v>
                </c:pt>
                <c:pt idx="3">
                  <c:v>1.8411</c:v>
                </c:pt>
                <c:pt idx="4">
                  <c:v>2.1224</c:v>
                </c:pt>
                <c:pt idx="6">
                  <c:v>2.978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P$2:$P$10</c:f>
              <c:numCache>
                <c:formatCode>General</c:formatCode>
                <c:ptCount val="9"/>
                <c:pt idx="0">
                  <c:v>3.3684</c:v>
                </c:pt>
                <c:pt idx="2">
                  <c:v>3.32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Q$2:$Q$10</c:f>
              <c:numCache>
                <c:formatCode>General</c:formatCode>
                <c:ptCount val="9"/>
                <c:pt idx="0">
                  <c:v>3.116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R$2:$R$10</c:f>
              <c:numCache>
                <c:formatCode>General</c:formatCode>
                <c:ptCount val="9"/>
                <c:pt idx="0">
                  <c:v>3.9313</c:v>
                </c:pt>
                <c:pt idx="1">
                  <c:v>3.639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S$2:$S$10</c:f>
              <c:numCache>
                <c:formatCode>General</c:formatCode>
                <c:ptCount val="9"/>
                <c:pt idx="3">
                  <c:v>2.4459</c:v>
                </c:pt>
                <c:pt idx="5">
                  <c:v>3.2147</c:v>
                </c:pt>
                <c:pt idx="7">
                  <c:v>3.6262</c:v>
                </c:pt>
                <c:pt idx="8">
                  <c:v>3.703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T$2:$T$10</c:f>
              <c:numCache>
                <c:formatCode>General</c:formatCode>
                <c:ptCount val="9"/>
                <c:pt idx="3">
                  <c:v>2.534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U$2:$U$10</c:f>
              <c:numCache>
                <c:formatCode>General</c:formatCode>
                <c:ptCount val="9"/>
                <c:pt idx="3">
                  <c:v>2.2509</c:v>
                </c:pt>
                <c:pt idx="4">
                  <c:v>2.939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V$2:$V$10</c:f>
              <c:numCache>
                <c:formatCode>General</c:formatCode>
                <c:ptCount val="9"/>
                <c:pt idx="0">
                  <c:v>3.94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W$2:$W$10</c:f>
              <c:numCache>
                <c:formatCode>General</c:formatCode>
                <c:ptCount val="9"/>
                <c:pt idx="3">
                  <c:v>3.1638</c:v>
                </c:pt>
                <c:pt idx="5">
                  <c:v>4.2512</c:v>
                </c:pt>
                <c:pt idx="7">
                  <c:v>4.5582</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X$2:$X$10</c:f>
              <c:numCache>
                <c:formatCode>General</c:formatCode>
                <c:ptCount val="9"/>
                <c:pt idx="1">
                  <c:v>5.093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Y$2:$Y$10</c:f>
              <c:numCache>
                <c:formatCode>General</c:formatCode>
                <c:ptCount val="9"/>
                <c:pt idx="3">
                  <c:v>3.775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Z$2:$Z$10</c:f>
              <c:numCache>
                <c:formatCode>General</c:formatCode>
                <c:ptCount val="9"/>
                <c:pt idx="0">
                  <c:v>4.63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A$2:$AA$10</c:f>
              <c:numCache>
                <c:formatCode>General</c:formatCode>
                <c:ptCount val="9"/>
                <c:pt idx="3">
                  <c:v>2.100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B$2:$AB$10</c:f>
              <c:numCache>
                <c:formatCode>General</c:formatCode>
                <c:ptCount val="9"/>
                <c:pt idx="2">
                  <c:v>1.402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C$2:$AC$10</c:f>
              <c:numCache>
                <c:formatCode>General</c:formatCode>
                <c:ptCount val="9"/>
                <c:pt idx="2">
                  <c:v>1.7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B$2:$B$8</c:f>
              <c:numCache>
                <c:formatCode>General</c:formatCode>
                <c:ptCount val="7"/>
                <c:pt idx="0">
                  <c:v>3.3784</c:v>
                </c:pt>
                <c:pt idx="2">
                  <c:v>2.0247</c:v>
                </c:pt>
                <c:pt idx="3">
                  <c:v>2.8323</c:v>
                </c:pt>
                <c:pt idx="4">
                  <c:v>2.6102</c:v>
                </c:pt>
                <c:pt idx="5">
                  <c:v>5.34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C$2:$C$8</c:f>
              <c:numCache>
                <c:formatCode>General</c:formatCode>
                <c:ptCount val="7"/>
                <c:pt idx="1">
                  <c:v>2.37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D$2:$D$8</c:f>
              <c:numCache>
                <c:formatCode>General</c:formatCode>
                <c:ptCount val="7"/>
                <c:pt idx="6">
                  <c:v>2.67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E$2:$E$8</c:f>
              <c:numCache>
                <c:formatCode>General</c:formatCode>
                <c:ptCount val="7"/>
                <c:pt idx="1">
                  <c:v>4.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F$2:$F$8</c:f>
              <c:numCache>
                <c:formatCode>General</c:formatCode>
                <c:ptCount val="7"/>
                <c:pt idx="1">
                  <c:v>1.71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G$2:$G$8</c:f>
              <c:numCache>
                <c:formatCode>General</c:formatCode>
                <c:ptCount val="7"/>
                <c:pt idx="5">
                  <c:v>2.422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B$2:$B$9</c:f>
              <c:numCache>
                <c:formatCode>General</c:formatCode>
                <c:ptCount val="8"/>
                <c:pt idx="0">
                  <c:v>3.4693</c:v>
                </c:pt>
                <c:pt idx="2">
                  <c:v>2.1145</c:v>
                </c:pt>
                <c:pt idx="3">
                  <c:v>3.0528</c:v>
                </c:pt>
                <c:pt idx="4">
                  <c:v>2.6517</c:v>
                </c:pt>
                <c:pt idx="5">
                  <c:v>5.70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C$2:$C$9</c:f>
              <c:numCache>
                <c:formatCode>General</c:formatCode>
                <c:ptCount val="8"/>
                <c:pt idx="1">
                  <c:v>2.45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D$2:$D$9</c:f>
              <c:numCache>
                <c:formatCode>General</c:formatCode>
                <c:ptCount val="8"/>
                <c:pt idx="6">
                  <c:v>2.6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E$2:$E$9</c:f>
              <c:numCache>
                <c:formatCode>General</c:formatCode>
                <c:ptCount val="8"/>
                <c:pt idx="1">
                  <c:v>4.4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F$2:$F$9</c:f>
              <c:numCache>
                <c:formatCode>General</c:formatCode>
                <c:ptCount val="8"/>
                <c:pt idx="7">
                  <c:v>1.892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B$2:$B$7</c:f>
              <c:numCache>
                <c:formatCode>General</c:formatCode>
                <c:ptCount val="6"/>
                <c:pt idx="0">
                  <c:v>3.3627</c:v>
                </c:pt>
                <c:pt idx="2">
                  <c:v>2.1533</c:v>
                </c:pt>
                <c:pt idx="3">
                  <c:v>2.6185</c:v>
                </c:pt>
                <c:pt idx="4">
                  <c:v>2.77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C$2:$C$7</c:f>
              <c:numCache>
                <c:formatCode>General</c:formatCode>
                <c:ptCount val="6"/>
                <c:pt idx="1">
                  <c:v>2.3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D$2:$D$7</c:f>
              <c:numCache>
                <c:formatCode>General</c:formatCode>
                <c:ptCount val="6"/>
                <c:pt idx="5">
                  <c:v>2.82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E$2:$E$7</c:f>
              <c:numCache>
                <c:formatCode>General</c:formatCode>
                <c:ptCount val="6"/>
                <c:pt idx="4">
                  <c:v>2.235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F$2:$F$7</c:f>
              <c:numCache>
                <c:formatCode>General</c:formatCode>
                <c:ptCount val="6"/>
                <c:pt idx="1">
                  <c:v>4.235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1">
                  <c:v>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24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0">
                  <c:v>2.03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2">
                  <c:v>2.48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33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0">
                  <c:v>2.3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168</c:v>
                </c:pt>
                <c:pt idx="3">
                  <c:v>1.77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1">
                  <c:v>2.652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0">
                  <c:v>2.654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5">
                  <c:v>2.8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8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4">
                  <c:v>3.490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16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0">
                  <c:v>2.3717</c:v>
                </c:pt>
                <c:pt idx="1">
                  <c:v>2.331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2">
                  <c:v>3.286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2.613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1.8857</c:v>
                </c:pt>
                <c:pt idx="3">
                  <c:v>1.701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1">
                  <c:v>2.8617</c:v>
                </c:pt>
                <c:pt idx="3">
                  <c:v>1.869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2">
                  <c:v>4.025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1">
                  <c:v>3.3762</c:v>
                </c:pt>
                <c:pt idx="3">
                  <c:v>2.0018</c:v>
                </c:pt>
                <c:pt idx="5">
                  <c:v>3.618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0">
                  <c:v>2.934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2">
                  <c:v>4.158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0">
                  <c:v>3.09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0">
                  <c:v>3.7054</c:v>
                </c:pt>
                <c:pt idx="1">
                  <c:v>3.557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0">
                  <c:v>1.4402</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2">
                  <c:v>5.872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0">
                  <c:v>3.756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2">
                  <c:v>4.2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0">
                  <c:v>2.875</c:v>
                </c:pt>
                <c:pt idx="3">
                  <c:v>2.558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1">
                  <c:v>4.633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2">
                  <c:v>5.845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E$2:$AE$7</c:f>
              <c:numCache>
                <c:formatCode>General</c:formatCode>
                <c:ptCount val="6"/>
                <c:pt idx="2">
                  <c:v>7.543</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F$2:$AF$7</c:f>
              <c:numCache>
                <c:formatCode>General</c:formatCode>
                <c:ptCount val="6"/>
                <c:pt idx="0">
                  <c:v>4.269</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G$2:$AG$7</c:f>
              <c:numCache>
                <c:formatCode>General</c:formatCode>
                <c:ptCount val="6"/>
                <c:pt idx="3">
                  <c:v>3.4971</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H$2:$AH$7</c:f>
              <c:numCache>
                <c:formatCode>General</c:formatCode>
                <c:ptCount val="6"/>
                <c:pt idx="0">
                  <c:v>4.153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I$2:$AI$7</c:f>
              <c:numCache>
                <c:formatCode>General</c:formatCode>
                <c:ptCount val="6"/>
                <c:pt idx="4">
                  <c:v>2.1548</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J$2:$AJ$7</c:f>
              <c:numCache>
                <c:formatCode>General</c:formatCode>
                <c:ptCount val="6"/>
                <c:pt idx="2">
                  <c:v>2.46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5">
                  <c:v>2.74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4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57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25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3">
                  <c:v>1.1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0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1">
                  <c:v>1.8333</c:v>
                </c:pt>
                <c:pt idx="5">
                  <c:v>2.926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8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4">
                  <c:v>3.48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0">
                  <c:v>2.2818</c:v>
                </c:pt>
                <c:pt idx="1">
                  <c:v>2.29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2">
                  <c:v>3.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76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1">
                  <c:v>2.980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1">
                  <c:v>2.6</c:v>
                </c:pt>
                <c:pt idx="3">
                  <c:v>2.118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556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2">
                  <c:v>3.822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13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0">
                  <c:v>3.6339</c:v>
                </c:pt>
                <c:pt idx="1">
                  <c:v>3.5971</c:v>
                </c:pt>
                <c:pt idx="3">
                  <c:v>3.439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1.4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5.871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724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2">
                  <c:v>4.18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3">
                  <c:v>2.737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1">
                  <c:v>4.22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2">
                  <c:v>6.249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3">
                  <c:v>3.779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2">
                  <c:v>7.0496</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0">
                  <c:v>3.9066</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3">
                  <c:v>3.5235</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4">
                  <c:v>2.371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0">
                  <c:v>1.9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2">
                  <c:v>2.42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3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0">
                  <c:v>2.36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1">
                  <c:v>2.3339</c:v>
                </c:pt>
                <c:pt idx="3">
                  <c:v>1.86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4">
                  <c:v>3.54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5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0">
                  <c:v>2.4007</c:v>
                </c:pt>
                <c:pt idx="1">
                  <c:v>2.36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2">
                  <c:v>3.87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0">
                  <c:v>2.48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3">
                  <c:v>1.65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1">
                  <c:v>2.95</c:v>
                </c:pt>
                <c:pt idx="3">
                  <c:v>1.879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5">
                  <c:v>3.620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5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0">
                  <c:v>3.368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64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2">
                  <c:v>4.410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116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3.9313</c:v>
                </c:pt>
                <c:pt idx="1">
                  <c:v>3.639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949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3">
                  <c:v>2.693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1">
                  <c:v>5.093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6.290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4.63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4">
                  <c:v>2.202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2">
                  <c:v>2.480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3233</c:v>
                </c:pt>
                <c:pt idx="1">
                  <c:v>2.29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1526</c:v>
                </c:pt>
                <c:pt idx="3">
                  <c:v>2.3322</c:v>
                </c:pt>
                <c:pt idx="4">
                  <c:v>1.2224</c:v>
                </c:pt>
                <c:pt idx="5">
                  <c:v>1.8639</c:v>
                </c:pt>
                <c:pt idx="6">
                  <c:v>1.9805</c:v>
                </c:pt>
                <c:pt idx="8">
                  <c:v>2.03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436</c:v>
                </c:pt>
                <c:pt idx="1">
                  <c:v>2.6647</c:v>
                </c:pt>
                <c:pt idx="6">
                  <c:v>2.01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4">
                  <c:v>1.34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3">
                  <c:v>2.3018</c:v>
                </c:pt>
                <c:pt idx="5">
                  <c:v>2.20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4">
                  <c:v>2.9329</c:v>
                </c:pt>
                <c:pt idx="7">
                  <c:v>2.44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0">
                  <c:v>2.939</c:v>
                </c:pt>
                <c:pt idx="1">
                  <c:v>3.088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3">
                  <c:v>3.291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2924</c:v>
                </c:pt>
                <c:pt idx="4">
                  <c:v>2.1563</c:v>
                </c:pt>
                <c:pt idx="6">
                  <c:v>2.74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0">
                  <c:v>3.36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3">
                  <c:v>3.20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5">
                  <c:v>3.057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3">
                  <c:v>3.5305</c:v>
                </c:pt>
                <c:pt idx="4">
                  <c:v>1.8754</c:v>
                </c:pt>
                <c:pt idx="8">
                  <c:v>3.260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0">
                  <c:v>3.6399</c:v>
                </c:pt>
                <c:pt idx="5">
                  <c:v>3.359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3">
                  <c:v>4.577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5">
                  <c:v>4.57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3">
                  <c:v>5.23</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T$2:$T$10</c:f>
              <c:numCache>
                <c:formatCode>General</c:formatCode>
                <c:ptCount val="9"/>
                <c:pt idx="0">
                  <c:v>1.338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U$2:$U$10</c:f>
              <c:numCache>
                <c:formatCode>General</c:formatCode>
                <c:ptCount val="9"/>
                <c:pt idx="0">
                  <c:v>1.7228</c:v>
                </c:pt>
                <c:pt idx="6">
                  <c:v>1.968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1341</c:v>
                </c:pt>
                <c:pt idx="1">
                  <c:v>2.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2631</c:v>
                </c:pt>
                <c:pt idx="3">
                  <c:v>2.5021</c:v>
                </c:pt>
                <c:pt idx="4">
                  <c:v>1.4434</c:v>
                </c:pt>
                <c:pt idx="5">
                  <c:v>1.974</c:v>
                </c:pt>
                <c:pt idx="6">
                  <c:v>2.1177</c:v>
                </c:pt>
                <c:pt idx="8">
                  <c:v>2.18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5739</c:v>
                </c:pt>
                <c:pt idx="1">
                  <c:v>2.7166</c:v>
                </c:pt>
                <c:pt idx="6">
                  <c:v>2.0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3">
                  <c:v>2.4893</c:v>
                </c:pt>
                <c:pt idx="5">
                  <c:v>2.28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7">
                  <c:v>2.45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0">
                  <c:v>2.8436</c:v>
                </c:pt>
                <c:pt idx="1">
                  <c:v>3.2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3">
                  <c:v>3.23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0">
                  <c:v>3.4199</c:v>
                </c:pt>
                <c:pt idx="4">
                  <c:v>2.1473</c:v>
                </c:pt>
                <c:pt idx="6">
                  <c:v>2.90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5">
                  <c:v>3.24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3">
                  <c:v>3.6497</c:v>
                </c:pt>
                <c:pt idx="4">
                  <c:v>1.9736</c:v>
                </c:pt>
                <c:pt idx="8">
                  <c:v>3.39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2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0">
                  <c:v>3.728</c:v>
                </c:pt>
                <c:pt idx="5">
                  <c:v>3.346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3">
                  <c:v>4.661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5">
                  <c:v>4.728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3">
                  <c:v>5.099</c:v>
                </c:pt>
                <c:pt idx="8">
                  <c:v>5.314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0">
                  <c:v>1.299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0">
                  <c:v>1.6555</c:v>
                </c:pt>
                <c:pt idx="6">
                  <c:v>2.051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B$2:$B$10</c:f>
              <c:numCache>
                <c:formatCode>General</c:formatCode>
                <c:ptCount val="9"/>
                <c:pt idx="0">
                  <c:v>2.2609</c:v>
                </c:pt>
                <c:pt idx="1">
                  <c:v>2.38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C$2:$C$10</c:f>
              <c:numCache>
                <c:formatCode>General</c:formatCode>
                <c:ptCount val="9"/>
                <c:pt idx="8">
                  <c:v>2.8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D$2:$D$10</c:f>
              <c:numCache>
                <c:formatCode>General</c:formatCode>
                <c:ptCount val="9"/>
                <c:pt idx="0">
                  <c:v>2.2536</c:v>
                </c:pt>
                <c:pt idx="2">
                  <c:v>2.2577</c:v>
                </c:pt>
                <c:pt idx="3">
                  <c:v>1.2655</c:v>
                </c:pt>
                <c:pt idx="4">
                  <c:v>1.8655</c:v>
                </c:pt>
                <c:pt idx="5">
                  <c:v>2.0595</c:v>
                </c:pt>
                <c:pt idx="7">
                  <c:v>1.85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E$2:$E$10</c:f>
              <c:numCache>
                <c:formatCode>General</c:formatCode>
                <c:ptCount val="9"/>
                <c:pt idx="0">
                  <c:v>2.4615</c:v>
                </c:pt>
                <c:pt idx="1">
                  <c:v>2.5216</c:v>
                </c:pt>
                <c:pt idx="5">
                  <c:v>2.0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F$2:$F$10</c:f>
              <c:numCache>
                <c:formatCode>General</c:formatCode>
                <c:ptCount val="9"/>
                <c:pt idx="2">
                  <c:v>2.3105</c:v>
                </c:pt>
                <c:pt idx="4">
                  <c:v>2.16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G$2:$G$10</c:f>
              <c:numCache>
                <c:formatCode>General</c:formatCode>
                <c:ptCount val="9"/>
                <c:pt idx="6">
                  <c:v>2.49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H$2:$H$10</c:f>
              <c:numCache>
                <c:formatCode>General</c:formatCode>
                <c:ptCount val="9"/>
                <c:pt idx="1">
                  <c:v>3.42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I$2:$I$10</c:f>
              <c:numCache>
                <c:formatCode>General</c:formatCode>
                <c:ptCount val="9"/>
                <c:pt idx="0">
                  <c:v>3.2565</c:v>
                </c:pt>
                <c:pt idx="3">
                  <c:v>2.1458</c:v>
                </c:pt>
                <c:pt idx="5">
                  <c:v>2.832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J$2:$J$10</c:f>
              <c:numCache>
                <c:formatCode>General</c:formatCode>
                <c:ptCount val="9"/>
                <c:pt idx="0">
                  <c:v>3.324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K$2:$K$10</c:f>
              <c:numCache>
                <c:formatCode>General</c:formatCode>
                <c:ptCount val="9"/>
                <c:pt idx="4">
                  <c:v>3.072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L$2:$L$10</c:f>
              <c:numCache>
                <c:formatCode>General</c:formatCode>
                <c:ptCount val="9"/>
                <c:pt idx="2">
                  <c:v>3.6262</c:v>
                </c:pt>
                <c:pt idx="3">
                  <c:v>1.9141</c:v>
                </c:pt>
                <c:pt idx="7">
                  <c:v>3.19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2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M$2:$M$10</c:f>
              <c:numCache>
                <c:formatCode>General</c:formatCode>
                <c:ptCount val="9"/>
                <c:pt idx="4">
                  <c:v>3.352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N$2:$N$10</c:f>
              <c:numCache>
                <c:formatCode>General</c:formatCode>
                <c:ptCount val="9"/>
                <c:pt idx="2">
                  <c:v>4.558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O$2:$O$10</c:f>
              <c:numCache>
                <c:formatCode>General</c:formatCode>
                <c:ptCount val="9"/>
                <c:pt idx="4">
                  <c:v>4.6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P$2:$P$10</c:f>
              <c:numCache>
                <c:formatCode>General</c:formatCode>
                <c:ptCount val="9"/>
                <c:pt idx="2">
                  <c:v>5.552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Q$2:$Q$10</c:f>
              <c:numCache>
                <c:formatCode>General</c:formatCode>
                <c:ptCount val="9"/>
                <c:pt idx="0">
                  <c:v>1.40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9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R$2:$R$10</c:f>
              <c:numCache>
                <c:formatCode>General</c:formatCode>
                <c:ptCount val="9"/>
                <c:pt idx="5">
                  <c:v>1.44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S$2:$S$10</c:f>
              <c:numCache>
                <c:formatCode>General</c:formatCode>
                <c:ptCount val="9"/>
                <c:pt idx="0">
                  <c:v>1.748</c:v>
                </c:pt>
                <c:pt idx="5">
                  <c:v>1.86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8</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4.98</c:v>
                </c:pt>
                <c:pt idx="1">
                  <c:v>2.32</c:v>
                </c:pt>
                <c:pt idx="2">
                  <c:v>3.01</c:v>
                </c:pt>
                <c:pt idx="3">
                  <c:v>2.55</c:v>
                </c:pt>
                <c:pt idx="4">
                  <c:v>3.63</c:v>
                </c:pt>
                <c:pt idx="5">
                  <c:v>3.99</c:v>
                </c:pt>
                <c:pt idx="6">
                  <c:v>2.39</c:v>
                </c:pt>
                <c:pt idx="7">
                  <c:v>3.36</c:v>
                </c:pt>
                <c:pt idx="8">
                  <c:v>2.8</c:v>
                </c:pt>
                <c:pt idx="9">
                  <c:v>2.42</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B$2:$B$8</c:f>
              <c:numCache>
                <c:formatCode>General</c:formatCode>
                <c:ptCount val="7"/>
                <c:pt idx="1">
                  <c:v>2.4629</c:v>
                </c:pt>
                <c:pt idx="3">
                  <c:v>2.37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C$2:$C$8</c:f>
              <c:numCache>
                <c:formatCode>General</c:formatCode>
                <c:ptCount val="7"/>
                <c:pt idx="0">
                  <c:v>2.2454</c:v>
                </c:pt>
                <c:pt idx="1">
                  <c:v>2.1487</c:v>
                </c:pt>
                <c:pt idx="3">
                  <c:v>2.635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D$2:$D$8</c:f>
              <c:numCache>
                <c:formatCode>General</c:formatCode>
                <c:ptCount val="7"/>
                <c:pt idx="1">
                  <c:v>1.3109</c:v>
                </c:pt>
                <c:pt idx="2">
                  <c:v>1.5152</c:v>
                </c:pt>
                <c:pt idx="3">
                  <c:v>2.3484</c:v>
                </c:pt>
                <c:pt idx="4">
                  <c:v>1.64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E$2:$E$8</c:f>
              <c:numCache>
                <c:formatCode>General</c:formatCode>
                <c:ptCount val="7"/>
                <c:pt idx="1">
                  <c:v>2.1614</c:v>
                </c:pt>
                <c:pt idx="2">
                  <c:v>2.9659</c:v>
                </c:pt>
                <c:pt idx="3">
                  <c:v>2.9285</c:v>
                </c:pt>
                <c:pt idx="4">
                  <c:v>2.5783</c:v>
                </c:pt>
                <c:pt idx="5">
                  <c:v>2.7561</c:v>
                </c:pt>
                <c:pt idx="6">
                  <c:v>2.7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F$2:$F$8</c:f>
              <c:numCache>
                <c:formatCode>General</c:formatCode>
                <c:ptCount val="7"/>
                <c:pt idx="1">
                  <c:v>2.9595</c:v>
                </c:pt>
                <c:pt idx="3">
                  <c:v>3.6528</c:v>
                </c:pt>
                <c:pt idx="4">
                  <c:v>4.483</c:v>
                </c:pt>
                <c:pt idx="5">
                  <c:v>2.83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G$2:$G$8</c:f>
              <c:numCache>
                <c:formatCode>General</c:formatCode>
                <c:ptCount val="7"/>
                <c:pt idx="1">
                  <c:v>2.2301</c:v>
                </c:pt>
                <c:pt idx="2">
                  <c:v>2.5897</c:v>
                </c:pt>
                <c:pt idx="3">
                  <c:v>4.61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H$2:$H$8</c:f>
              <c:numCache>
                <c:formatCode>General</c:formatCode>
                <c:ptCount val="7"/>
                <c:pt idx="1">
                  <c:v>2.6457</c:v>
                </c:pt>
                <c:pt idx="4">
                  <c:v>4.8948</c:v>
                </c:pt>
                <c:pt idx="5">
                  <c:v>3.31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I$2:$I$8</c:f>
              <c:numCache>
                <c:formatCode>General</c:formatCode>
                <c:ptCount val="7"/>
                <c:pt idx="1">
                  <c:v>2.833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J$2:$J$8</c:f>
              <c:numCache>
                <c:formatCode>General</c:formatCode>
                <c:ptCount val="7"/>
                <c:pt idx="1">
                  <c:v>2.716</c:v>
                </c:pt>
                <c:pt idx="2">
                  <c:v>3.58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K$2:$K$8</c:f>
              <c:numCache>
                <c:formatCode>General</c:formatCode>
                <c:ptCount val="7"/>
                <c:pt idx="1">
                  <c:v>2.9543</c:v>
                </c:pt>
                <c:pt idx="2">
                  <c:v>4.30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L$2:$L$8</c:f>
              <c:numCache>
                <c:formatCode>General</c:formatCode>
                <c:ptCount val="7"/>
                <c:pt idx="1">
                  <c:v>4.507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B$2:$B$8</c:f>
              <c:numCache>
                <c:formatCode>General</c:formatCode>
                <c:ptCount val="7"/>
                <c:pt idx="1">
                  <c:v>1.9788</c:v>
                </c:pt>
                <c:pt idx="2">
                  <c:v>2.3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C$2:$C$8</c:f>
              <c:numCache>
                <c:formatCode>General</c:formatCode>
                <c:ptCount val="7"/>
                <c:pt idx="0">
                  <c:v>2.2364</c:v>
                </c:pt>
                <c:pt idx="1">
                  <c:v>2.2079</c:v>
                </c:pt>
                <c:pt idx="2">
                  <c:v>2.5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D$2:$D$8</c:f>
              <c:numCache>
                <c:formatCode>General</c:formatCode>
                <c:ptCount val="7"/>
                <c:pt idx="1">
                  <c:v>1.3941</c:v>
                </c:pt>
                <c:pt idx="2">
                  <c:v>2.5105</c:v>
                </c:pt>
                <c:pt idx="3">
                  <c:v>1.5954</c:v>
                </c:pt>
                <c:pt idx="4">
                  <c:v>1.75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E$2:$E$8</c:f>
              <c:numCache>
                <c:formatCode>General</c:formatCode>
                <c:ptCount val="7"/>
                <c:pt idx="1">
                  <c:v>2.2495</c:v>
                </c:pt>
                <c:pt idx="2">
                  <c:v>2.8175</c:v>
                </c:pt>
                <c:pt idx="3">
                  <c:v>2.6676</c:v>
                </c:pt>
                <c:pt idx="4">
                  <c:v>2.7401</c:v>
                </c:pt>
                <c:pt idx="5">
                  <c:v>2.8756</c:v>
                </c:pt>
                <c:pt idx="6">
                  <c:v>2.76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F$2:$F$8</c:f>
              <c:numCache>
                <c:formatCode>General</c:formatCode>
                <c:ptCount val="7"/>
                <c:pt idx="1">
                  <c:v>3.62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G$2:$G$8</c:f>
              <c:numCache>
                <c:formatCode>General</c:formatCode>
                <c:ptCount val="7"/>
                <c:pt idx="1">
                  <c:v>3.0125</c:v>
                </c:pt>
                <c:pt idx="2">
                  <c:v>3.6293</c:v>
                </c:pt>
                <c:pt idx="4">
                  <c:v>4.1788</c:v>
                </c:pt>
                <c:pt idx="5">
                  <c:v>2.96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H$2:$H$8</c:f>
              <c:numCache>
                <c:formatCode>General</c:formatCode>
                <c:ptCount val="7"/>
                <c:pt idx="1">
                  <c:v>2.2554</c:v>
                </c:pt>
                <c:pt idx="2">
                  <c:v>4.6926</c:v>
                </c:pt>
                <c:pt idx="3">
                  <c:v>2.78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I$2:$I$8</c:f>
              <c:numCache>
                <c:formatCode>General</c:formatCode>
                <c:ptCount val="7"/>
                <c:pt idx="1">
                  <c:v>3.3659</c:v>
                </c:pt>
                <c:pt idx="2">
                  <c:v>4.8452</c:v>
                </c:pt>
                <c:pt idx="4">
                  <c:v>5.1312</c:v>
                </c:pt>
                <c:pt idx="5">
                  <c:v>3.27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J$2:$J$8</c:f>
              <c:numCache>
                <c:formatCode>General</c:formatCode>
                <c:ptCount val="7"/>
                <c:pt idx="1">
                  <c:v>2.7354</c:v>
                </c:pt>
                <c:pt idx="3">
                  <c:v>3.755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K$2:$K$8</c:f>
              <c:numCache>
                <c:formatCode>General</c:formatCode>
                <c:ptCount val="7"/>
                <c:pt idx="1">
                  <c:v>3.009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B$2:$B$8</c:f>
              <c:numCache>
                <c:formatCode>General</c:formatCode>
                <c:ptCount val="7"/>
                <c:pt idx="1">
                  <c:v>2.8663</c:v>
                </c:pt>
                <c:pt idx="5">
                  <c:v>2.65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C$2:$C$8</c:f>
              <c:numCache>
                <c:formatCode>General</c:formatCode>
                <c:ptCount val="7"/>
                <c:pt idx="0">
                  <c:v>2.3374</c:v>
                </c:pt>
                <c:pt idx="1">
                  <c:v>1.78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D$2:$D$8</c:f>
              <c:numCache>
                <c:formatCode>General</c:formatCode>
                <c:ptCount val="7"/>
                <c:pt idx="1">
                  <c:v>1.2884</c:v>
                </c:pt>
                <c:pt idx="2">
                  <c:v>1.5113</c:v>
                </c:pt>
                <c:pt idx="4">
                  <c:v>1.7227</c:v>
                </c:pt>
                <c:pt idx="5">
                  <c:v>2.824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E$2:$E$8</c:f>
              <c:numCache>
                <c:formatCode>General</c:formatCode>
                <c:ptCount val="7"/>
                <c:pt idx="1">
                  <c:v>2.2327</c:v>
                </c:pt>
                <c:pt idx="2">
                  <c:v>3.0938</c:v>
                </c:pt>
                <c:pt idx="3">
                  <c:v>2.8412</c:v>
                </c:pt>
                <c:pt idx="5">
                  <c:v>3.447</c:v>
                </c:pt>
                <c:pt idx="6">
                  <c:v>2.896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F$2:$F$8</c:f>
              <c:numCache>
                <c:formatCode>General</c:formatCode>
                <c:ptCount val="7"/>
                <c:pt idx="3">
                  <c:v>3.15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G$2:$G$8</c:f>
              <c:numCache>
                <c:formatCode>General</c:formatCode>
                <c:ptCount val="7"/>
                <c:pt idx="1">
                  <c:v>3.1911</c:v>
                </c:pt>
                <c:pt idx="3">
                  <c:v>2.7415</c:v>
                </c:pt>
                <c:pt idx="4">
                  <c:v>5.03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H$2:$H$8</c:f>
              <c:numCache>
                <c:formatCode>General</c:formatCode>
                <c:ptCount val="7"/>
                <c:pt idx="1">
                  <c:v>1.7466</c:v>
                </c:pt>
                <c:pt idx="2">
                  <c:v>2.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I$2:$I$8</c:f>
              <c:numCache>
                <c:formatCode>General</c:formatCode>
                <c:ptCount val="7"/>
                <c:pt idx="1">
                  <c:v>2.1259</c:v>
                </c:pt>
                <c:pt idx="3">
                  <c:v>3.34</c:v>
                </c:pt>
                <c:pt idx="4">
                  <c:v>5.31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J$2:$J$8</c:f>
              <c:numCache>
                <c:formatCode>General</c:formatCode>
                <c:ptCount val="7"/>
                <c:pt idx="2">
                  <c:v>3.4846</c:v>
                </c:pt>
                <c:pt idx="4">
                  <c:v>3.17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Casa Azzurra</c:v>
                </c:pt>
                <c:pt idx="5">
                  <c:v>All Others</c:v>
                </c:pt>
                <c:pt idx="6">
                  <c:v>Islos</c:v>
                </c:pt>
              </c:strCache>
            </c:strRef>
          </c:cat>
          <c:val>
            <c:numRef>
              <c:f>Sheet1!$K$2:$K$8</c:f>
              <c:numCache>
                <c:formatCode>General</c:formatCode>
                <c:ptCount val="7"/>
                <c:pt idx="1">
                  <c:v>2.9629</c:v>
                </c:pt>
                <c:pt idx="2">
                  <c:v>4.356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D$2:$D$5</c:f>
              <c:numCache>
                <c:formatCode>General</c:formatCode>
                <c:ptCount val="4"/>
                <c:pt idx="0">
                  <c:v>2.1683</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E$2:$E$5</c:f>
              <c:numCache>
                <c:formatCode>General</c:formatCode>
                <c:ptCount val="4"/>
                <c:pt idx="0">
                  <c:v>1.311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F$2:$F$5</c:f>
              <c:numCache>
                <c:formatCode>General</c:formatCode>
                <c:ptCount val="4"/>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G$2:$G$5</c:f>
              <c:numCache>
                <c:formatCode>General</c:formatCode>
                <c:ptCount val="4"/>
                <c:pt idx="0">
                  <c:v>1.7789</c:v>
                </c:pt>
                <c:pt idx="3">
                  <c:v>2.152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H$2:$H$5</c:f>
              <c:numCache>
                <c:formatCode>General</c:formatCode>
                <c:ptCount val="4"/>
                <c:pt idx="0">
                  <c:v>2.104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I$2:$I$5</c:f>
              <c:numCache>
                <c:formatCode>General</c:formatCode>
                <c:ptCount val="4"/>
                <c:pt idx="1">
                  <c:v>2.613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J$2:$J$5</c:f>
              <c:numCache>
                <c:formatCode>General</c:formatCode>
                <c:ptCount val="4"/>
                <c:pt idx="0">
                  <c:v>2.324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K$2:$K$5</c:f>
              <c:numCache>
                <c:formatCode>General</c:formatCode>
                <c:ptCount val="4"/>
                <c:pt idx="2">
                  <c:v>2.861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L$2:$L$5</c:f>
              <c:numCache>
                <c:formatCode>General</c:formatCode>
                <c:ptCount val="4"/>
                <c:pt idx="0">
                  <c:v>1.967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M$2:$M$5</c:f>
              <c:numCache>
                <c:formatCode>General</c:formatCode>
                <c:ptCount val="4"/>
                <c:pt idx="0">
                  <c:v>2.073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N$2:$N$5</c:f>
              <c:numCache>
                <c:formatCode>General</c:formatCode>
                <c:ptCount val="4"/>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O$2:$O$5</c:f>
              <c:numCache>
                <c:formatCode>General</c:formatCode>
                <c:ptCount val="4"/>
                <c:pt idx="0">
                  <c:v>2.325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P$2:$P$5</c:f>
              <c:numCache>
                <c:formatCode>General</c:formatCode>
                <c:ptCount val="4"/>
                <c:pt idx="0">
                  <c:v>2.244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Q$2:$Q$5</c:f>
              <c:numCache>
                <c:formatCode>General</c:formatCode>
                <c:ptCount val="4"/>
                <c:pt idx="0">
                  <c:v>2.687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R$2:$R$5</c:f>
              <c:numCache>
                <c:formatCode>General</c:formatCode>
                <c:ptCount val="4"/>
                <c:pt idx="1">
                  <c:v>3.756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S$2:$S$5</c:f>
              <c:numCache>
                <c:formatCode>General</c:formatCode>
                <c:ptCount val="4"/>
                <c:pt idx="0">
                  <c:v>2.9029</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T$2:$T$5</c:f>
              <c:numCache>
                <c:formatCode>General</c:formatCode>
                <c:ptCount val="4"/>
                <c:pt idx="2">
                  <c:v>4.6334</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U$2:$U$5</c:f>
              <c:numCache>
                <c:formatCode>General</c:formatCode>
                <c:ptCount val="4"/>
                <c:pt idx="0">
                  <c:v>3.7364</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V$2:$V$5</c:f>
              <c:numCache>
                <c:formatCode>General</c:formatCode>
                <c:ptCount val="4"/>
                <c:pt idx="1">
                  <c:v>4.26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C$2:$C$5</c:f>
              <c:numCache>
                <c:formatCode>General</c:formatCode>
                <c:ptCount val="4"/>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D$2:$D$5</c:f>
              <c:numCache>
                <c:formatCode>General</c:formatCode>
                <c:ptCount val="4"/>
                <c:pt idx="0">
                  <c:v>2.7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E$2:$E$5</c:f>
              <c:numCache>
                <c:formatCode>General</c:formatCode>
                <c:ptCount val="4"/>
                <c:pt idx="0">
                  <c:v>2.359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F$2:$F$5</c:f>
              <c:numCache>
                <c:formatCode>General</c:formatCode>
                <c:ptCount val="4"/>
                <c:pt idx="0">
                  <c:v>1.394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3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G$2:$G$5</c:f>
              <c:numCache>
                <c:formatCode>General</c:formatCode>
                <c:ptCount val="4"/>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H$2:$H$5</c:f>
              <c:numCache>
                <c:formatCode>General</c:formatCode>
                <c:ptCount val="4"/>
                <c:pt idx="2">
                  <c:v>2.3032</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I$2:$I$5</c:f>
              <c:numCache>
                <c:formatCode>General</c:formatCode>
                <c:ptCount val="4"/>
                <c:pt idx="0">
                  <c:v>2.0529</c:v>
                </c:pt>
                <c:pt idx="3">
                  <c:v>2.263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68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8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K$2:$K$5</c:f>
              <c:numCache>
                <c:formatCode>General</c:formatCode>
                <c:ptCount val="4"/>
                <c:pt idx="0">
                  <c:v>2.201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L$2:$L$5</c:f>
              <c:numCache>
                <c:formatCode>General</c:formatCode>
                <c:ptCount val="4"/>
                <c:pt idx="1">
                  <c:v>2.764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M$2:$M$5</c:f>
              <c:numCache>
                <c:formatCode>General</c:formatCode>
                <c:ptCount val="4"/>
                <c:pt idx="0">
                  <c:v>2.5657</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N$2:$N$5</c:f>
              <c:numCache>
                <c:formatCode>General</c:formatCode>
                <c:ptCount val="4"/>
                <c:pt idx="0">
                  <c:v>2.135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O$2:$O$5</c:f>
              <c:numCache>
                <c:formatCode>General</c:formatCode>
                <c:ptCount val="4"/>
                <c:pt idx="0">
                  <c:v>2.2867</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Q$2:$Q$5</c:f>
              <c:numCache>
                <c:formatCode>General</c:formatCode>
                <c:ptCount val="4"/>
                <c:pt idx="0">
                  <c:v>2.3175</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R$2:$R$5</c:f>
              <c:numCache>
                <c:formatCode>General</c:formatCode>
                <c:ptCount val="4"/>
                <c:pt idx="0">
                  <c:v>2.284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S$2:$S$5</c:f>
              <c:numCache>
                <c:formatCode>General</c:formatCode>
                <c:ptCount val="4"/>
                <c:pt idx="0">
                  <c:v>2.735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T$2:$T$5</c:f>
              <c:numCache>
                <c:formatCode>General</c:formatCode>
                <c:ptCount val="4"/>
                <c:pt idx="1">
                  <c:v>3.724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U$2:$U$5</c:f>
              <c:numCache>
                <c:formatCode>General</c:formatCode>
                <c:ptCount val="4"/>
                <c:pt idx="0">
                  <c:v>3.2874</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V$2:$V$5</c:f>
              <c:numCache>
                <c:formatCode>General</c:formatCode>
                <c:ptCount val="4"/>
                <c:pt idx="2">
                  <c:v>4.227</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W$2:$W$5</c:f>
              <c:numCache>
                <c:formatCode>General</c:formatCode>
                <c:ptCount val="4"/>
                <c:pt idx="0">
                  <c:v>3.8168</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X$2:$X$5</c:f>
              <c:numCache>
                <c:formatCode>General</c:formatCode>
                <c:ptCount val="4"/>
                <c:pt idx="1">
                  <c:v>3.906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C$2:$C$6</c:f>
              <c:numCache>
                <c:formatCode>General</c:formatCode>
                <c:ptCount val="5"/>
                <c:pt idx="3">
                  <c:v>3.362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D$2:$D$6</c:f>
              <c:numCache>
                <c:formatCode>General</c:formatCode>
                <c:ptCount val="5"/>
                <c:pt idx="0">
                  <c:v>1.289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2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E$2:$E$6</c:f>
              <c:numCache>
                <c:formatCode>General</c:formatCode>
                <c:ptCount val="5"/>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44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F$2:$F$6</c:f>
              <c:numCache>
                <c:formatCode>General</c:formatCode>
                <c:ptCount val="5"/>
                <c:pt idx="4">
                  <c:v>2.3339</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G$2:$G$6</c:f>
              <c:numCache>
                <c:formatCode>General</c:formatCode>
                <c:ptCount val="5"/>
                <c:pt idx="0">
                  <c:v>1.7326</c:v>
                </c:pt>
                <c:pt idx="2">
                  <c:v>2.2536</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H$2:$H$6</c:f>
              <c:numCache>
                <c:formatCode>General</c:formatCode>
                <c:ptCount val="5"/>
                <c:pt idx="2">
                  <c:v>2.461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I$2:$I$6</c:f>
              <c:numCache>
                <c:formatCode>General</c:formatCode>
                <c:ptCount val="5"/>
                <c:pt idx="0">
                  <c:v>2.599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92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J$2:$J$6</c:f>
              <c:numCache>
                <c:formatCode>General</c:formatCode>
                <c:ptCount val="5"/>
                <c:pt idx="1">
                  <c:v>2.4898</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K$2:$K$6</c:f>
              <c:numCache>
                <c:formatCode>General</c:formatCode>
                <c:ptCount val="5"/>
                <c:pt idx="0">
                  <c:v>2.3788</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L$2:$L$6</c:f>
              <c:numCache>
                <c:formatCode>General</c:formatCode>
                <c:ptCount val="5"/>
                <c:pt idx="0">
                  <c:v>1.8791</c:v>
                </c:pt>
                <c:pt idx="4">
                  <c:v>2.9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M$2:$M$6</c:f>
              <c:numCache>
                <c:formatCode>General</c:formatCode>
                <c:ptCount val="5"/>
                <c:pt idx="0">
                  <c:v>1.841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O$2:$O$6</c:f>
              <c:numCache>
                <c:formatCode>General</c:formatCode>
                <c:ptCount val="5"/>
                <c:pt idx="0">
                  <c:v>2.4459</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Q$2:$Q$6</c:f>
              <c:numCache>
                <c:formatCode>General</c:formatCode>
                <c:ptCount val="5"/>
                <c:pt idx="0">
                  <c:v>2.250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R$2:$R$6</c:f>
              <c:numCache>
                <c:formatCode>General</c:formatCode>
                <c:ptCount val="5"/>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S$2:$S$6</c:f>
              <c:numCache>
                <c:formatCode>General</c:formatCode>
                <c:ptCount val="5"/>
                <c:pt idx="1">
                  <c:v>3.949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T$2:$T$6</c:f>
              <c:numCache>
                <c:formatCode>General</c:formatCode>
                <c:ptCount val="5"/>
                <c:pt idx="0">
                  <c:v>3.1638</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U$2:$U$6</c:f>
              <c:numCache>
                <c:formatCode>General</c:formatCode>
                <c:ptCount val="5"/>
                <c:pt idx="4">
                  <c:v>5.0931</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V$2:$V$6</c:f>
              <c:numCache>
                <c:formatCode>General</c:formatCode>
                <c:ptCount val="5"/>
                <c:pt idx="0">
                  <c:v>3.7756</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W$2:$W$6</c:f>
              <c:numCache>
                <c:formatCode>General</c:formatCode>
                <c:ptCount val="5"/>
                <c:pt idx="1">
                  <c:v>4.63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X$2:$X$6</c:f>
              <c:numCache>
                <c:formatCode>General</c:formatCode>
                <c:ptCount val="5"/>
                <c:pt idx="0">
                  <c:v>2.1004</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pt idx="0">
                  <c:v>1.310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2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pt idx="0">
                  <c:v>2.1614</c:v>
                </c:pt>
                <c:pt idx="1">
                  <c:v>1.2224</c:v>
                </c:pt>
                <c:pt idx="5">
                  <c:v>2.152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8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3">
                  <c:v>2.613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2.959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pt idx="4">
                  <c:v>2.861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2.230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pt idx="1">
                  <c:v>1.875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pt idx="0">
                  <c:v>2.7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pt idx="3">
                  <c:v>3.756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pt idx="0">
                  <c:v>2.9543</c:v>
                </c:pt>
                <c:pt idx="2">
                  <c:v>2.558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pt idx="4">
                  <c:v>4.633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pt idx="3">
                  <c:v>4.26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D$2:$D$6</c:f>
              <c:numCache>
                <c:formatCode>General</c:formatCode>
                <c:ptCount val="5"/>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E$2:$E$6</c:f>
              <c:numCache>
                <c:formatCode>General</c:formatCode>
                <c:ptCount val="5"/>
                <c:pt idx="0">
                  <c:v>1.394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G$2:$G$6</c:f>
              <c:numCache>
                <c:formatCode>General</c:formatCode>
                <c:ptCount val="5"/>
                <c:pt idx="3">
                  <c:v>2.303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H$2:$H$6</c:f>
              <c:numCache>
                <c:formatCode>General</c:formatCode>
                <c:ptCount val="5"/>
                <c:pt idx="0">
                  <c:v>2.2495</c:v>
                </c:pt>
                <c:pt idx="1">
                  <c:v>1.4434</c:v>
                </c:pt>
                <c:pt idx="4">
                  <c:v>2.263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68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I$2:$I$6</c:f>
              <c:numCache>
                <c:formatCode>General</c:formatCode>
                <c:ptCount val="5"/>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J$2:$J$6</c:f>
              <c:numCache>
                <c:formatCode>General</c:formatCode>
                <c:ptCount val="5"/>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92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K$2:$K$6</c:f>
              <c:numCache>
                <c:formatCode>General</c:formatCode>
                <c:ptCount val="5"/>
                <c:pt idx="2">
                  <c:v>2.764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L$2:$L$6</c:f>
              <c:numCache>
                <c:formatCode>General</c:formatCode>
                <c:ptCount val="5"/>
                <c:pt idx="0">
                  <c:v>3.012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M$2:$M$6</c:f>
              <c:numCache>
                <c:formatCode>General</c:formatCode>
                <c:ptCount val="5"/>
                <c:pt idx="0">
                  <c:v>2.255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O$2:$O$6</c:f>
              <c:numCache>
                <c:formatCode>General</c:formatCode>
                <c:ptCount val="5"/>
                <c:pt idx="1">
                  <c:v>1.973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Q$2:$Q$6</c:f>
              <c:numCache>
                <c:formatCode>General</c:formatCode>
                <c:ptCount val="5"/>
                <c:pt idx="0">
                  <c:v>2.735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R$2:$R$6</c:f>
              <c:numCache>
                <c:formatCode>General</c:formatCode>
                <c:ptCount val="5"/>
                <c:pt idx="2">
                  <c:v>3.724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S$2:$S$6</c:f>
              <c:numCache>
                <c:formatCode>General</c:formatCode>
                <c:ptCount val="5"/>
                <c:pt idx="0">
                  <c:v>3.0091</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T$2:$T$6</c:f>
              <c:numCache>
                <c:formatCode>General</c:formatCode>
                <c:ptCount val="5"/>
                <c:pt idx="3">
                  <c:v>4.22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U$2:$U$6</c:f>
              <c:numCache>
                <c:formatCode>General</c:formatCode>
                <c:ptCount val="5"/>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V$2:$V$6</c:f>
              <c:numCache>
                <c:formatCode>General</c:formatCode>
                <c:ptCount val="5"/>
                <c:pt idx="2">
                  <c:v>3.906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pt idx="0">
                  <c:v>1.288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4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pt idx="4">
                  <c:v>2.333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pt idx="0">
                  <c:v>2.2327</c:v>
                </c:pt>
                <c:pt idx="1">
                  <c:v>1.2655</c:v>
                </c:pt>
                <c:pt idx="5">
                  <c:v>2.253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pt idx="5">
                  <c:v>2.461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3">
                  <c:v>2.4898</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3.191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pt idx="2">
                  <c:v>1.8791</c:v>
                </c:pt>
                <c:pt idx="4">
                  <c:v>2.9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1.746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pt idx="1">
                  <c:v>1.914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pt idx="3">
                  <c:v>3.949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pt idx="0">
                  <c:v>2.9629</c:v>
                </c:pt>
                <c:pt idx="2">
                  <c:v>2.693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pt idx="4">
                  <c:v>5.0931</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V$2:$V$7</c:f>
              <c:numCache>
                <c:formatCode>General</c:formatCode>
                <c:ptCount val="6"/>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W$2:$W$7</c:f>
              <c:numCache>
                <c:formatCode>General</c:formatCode>
                <c:ptCount val="6"/>
                <c:pt idx="3">
                  <c:v>4.63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X$2:$X$7</c:f>
              <c:numCache>
                <c:formatCode>General</c:formatCode>
                <c:ptCount val="6"/>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Y$2:$Y$7</c:f>
              <c:numCache>
                <c:formatCode>General</c:formatCode>
                <c:ptCount val="6"/>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68</a:t>
                    </a:r>
                  </a:p>
                </c:rich>
              </c:tx>
              <c:dLblPos val="t"/>
              <c:showLegendKey val="0"/>
              <c:showVal val="1"/>
              <c:showCatName val="0"/>
              <c:showSerName val="0"/>
              <c:showPercent val="0"/>
              <c:showBubbleSize val="0"/>
            </c:dLbl>
            <c:dLbl>
              <c:idx val="5"/>
              <c:tx>
                <c:rich>
                  <a:bodyPr/>
                  <a:lstStyle/>
                  <a:p>
                    <a:r>
                      <a:t>2.24</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38</a:t>
                    </a:r>
                  </a:p>
                </c:rich>
              </c:tx>
              <c:dLblPos val="t"/>
              <c:showLegendKey val="0"/>
              <c:showVal val="1"/>
              <c:showCatName val="0"/>
              <c:showSerName val="0"/>
              <c:showPercent val="0"/>
              <c:showBubbleSize val="0"/>
            </c:dLbl>
            <c:dLbl>
              <c:idx val="9"/>
              <c:tx>
                <c:rich>
                  <a:bodyPr/>
                  <a:lstStyle/>
                  <a:p>
                    <a:r>
                      <a:t>2.28</a:t>
                    </a:r>
                  </a:p>
                </c:rich>
              </c:tx>
              <c:dLblPos val="t"/>
              <c:showLegendKey val="0"/>
              <c:showVal val="1"/>
              <c:showCatName val="0"/>
              <c:showSerName val="0"/>
              <c:showPercent val="0"/>
              <c:showBubbleSize val="0"/>
            </c:dLbl>
            <c:dLbl>
              <c:idx val="10"/>
              <c:tx>
                <c:rich>
                  <a:bodyPr/>
                  <a:lstStyle/>
                  <a:p>
                    <a:r>
                      <a:t>2.51</a:t>
                    </a:r>
                  </a:p>
                </c:rich>
              </c:tx>
              <c:dLblPos val="t"/>
              <c:showLegendKey val="0"/>
              <c:showVal val="1"/>
              <c:showCatName val="0"/>
              <c:showSerName val="0"/>
              <c:showPercent val="0"/>
              <c:showBubbleSize val="0"/>
            </c:dLbl>
            <c:dLbl>
              <c:idx val="11"/>
              <c:tx>
                <c:rich>
                  <a:bodyPr/>
                  <a:lstStyle/>
                  <a:p>
                    <a:r>
                      <a:t>1.33</a:t>
                    </a:r>
                  </a:p>
                </c:rich>
              </c:tx>
              <c:dLblPos val="t"/>
              <c:showLegendKey val="0"/>
              <c:showVal val="1"/>
              <c:showCatName val="0"/>
              <c:showSerName val="0"/>
              <c:showPercent val="0"/>
              <c:showBubbleSize val="0"/>
            </c:dLbl>
            <c:dLbl>
              <c:idx val="12"/>
              <c:tx>
                <c:rich>
                  <a:bodyPr/>
                  <a:lstStyle/>
                  <a:p>
                    <a:r>
                      <a:t>2.26</a:t>
                    </a:r>
                  </a:p>
                </c:rich>
              </c:tx>
              <c:dLblPos val="t"/>
              <c:showLegendKey val="0"/>
              <c:showVal val="1"/>
              <c:showCatName val="0"/>
              <c:showSerName val="0"/>
              <c:showPercent val="0"/>
              <c:showBubbleSize val="0"/>
            </c:dLbl>
            <c:dLbl>
              <c:idx val="13"/>
              <c:tx>
                <c:rich>
                  <a:bodyPr/>
                  <a:lstStyle/>
                  <a:p>
                    <a:r>
                      <a:t>3.62</a:t>
                    </a:r>
                  </a:p>
                </c:rich>
              </c:tx>
              <c:dLblPos val="t"/>
              <c:showLegendKey val="0"/>
              <c:showVal val="1"/>
              <c:showCatName val="0"/>
              <c:showSerName val="0"/>
              <c:showPercent val="0"/>
              <c:showBubbleSize val="0"/>
            </c:dLbl>
            <c:dLbl>
              <c:idx val="14"/>
              <c:tx>
                <c:rich>
                  <a:bodyPr/>
                  <a:lstStyle/>
                  <a:p>
                    <a:r>
                      <a:t>3.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36</c:v>
                </c:pt>
                <c:pt idx="1">
                  <c:v>2.62</c:v>
                </c:pt>
                <c:pt idx="2">
                  <c:v>3.47</c:v>
                </c:pt>
                <c:pt idx="3">
                  <c:v>2.46</c:v>
                </c:pt>
                <c:pt idx="4">
                  <c:v>1.68</c:v>
                </c:pt>
                <c:pt idx="5">
                  <c:v>2.24</c:v>
                </c:pt>
                <c:pt idx="6">
                  <c:v>2.15</c:v>
                </c:pt>
                <c:pt idx="7">
                  <c:v>2.28</c:v>
                </c:pt>
                <c:pt idx="8">
                  <c:v>2.38</c:v>
                </c:pt>
                <c:pt idx="9">
                  <c:v>2.28</c:v>
                </c:pt>
                <c:pt idx="10">
                  <c:v>2.51</c:v>
                </c:pt>
                <c:pt idx="11">
                  <c:v>1.33</c:v>
                </c:pt>
                <c:pt idx="12">
                  <c:v>2.26</c:v>
                </c:pt>
                <c:pt idx="13">
                  <c:v>3.62</c:v>
                </c:pt>
                <c:pt idx="14">
                  <c:v>3.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72</a:t>
                    </a:r>
                  </a:p>
                </c:rich>
              </c:tx>
              <c:dLblPos val="t"/>
              <c:showLegendKey val="0"/>
              <c:showVal val="1"/>
              <c:showCatName val="0"/>
              <c:showSerName val="0"/>
              <c:showPercent val="0"/>
              <c:showBubbleSize val="0"/>
            </c:dLbl>
            <c:dLbl>
              <c:idx val="7"/>
              <c:tx>
                <c:rich>
                  <a:bodyPr/>
                  <a:lstStyle/>
                  <a:p>
                    <a:r>
                      <a:t>3.02</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39</c:v>
                </c:pt>
                <c:pt idx="6">
                  <c:v>2.72</c:v>
                </c:pt>
                <c:pt idx="7">
                  <c:v>3.02</c:v>
                </c:pt>
                <c:pt idx="8">
                  <c:v>3.93</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2.4</a:t>
                    </a:r>
                  </a:p>
                </c:rich>
              </c:tx>
              <c:dLblPos val="t"/>
              <c:showLegendKey val="0"/>
              <c:showVal val="1"/>
              <c:showCatName val="0"/>
              <c:showSerName val="0"/>
              <c:showPercent val="0"/>
              <c:showBubbleSize val="0"/>
            </c:dLbl>
            <c:dLbl>
              <c:idx val="5"/>
              <c:tx>
                <c:rich>
                  <a:bodyPr/>
                  <a:lstStyle/>
                  <a:p>
                    <a:r>
                      <a:t>1.76</a:t>
                    </a:r>
                  </a:p>
                </c:rich>
              </c:tx>
              <c:dLblPos val="t"/>
              <c:showLegendKey val="0"/>
              <c:showVal val="1"/>
              <c:showCatName val="0"/>
              <c:showSerName val="0"/>
              <c:showPercent val="0"/>
              <c:showBubbleSize val="0"/>
            </c:dLbl>
            <c:dLbl>
              <c:idx val="6"/>
              <c:tx>
                <c:rich>
                  <a:bodyPr/>
                  <a:lstStyle/>
                  <a:p>
                    <a:r>
                      <a:t>2.45</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5</a:t>
                    </a:r>
                  </a:p>
                </c:rich>
              </c:tx>
              <c:dLblPos val="t"/>
              <c:showLegendKey val="0"/>
              <c:showVal val="1"/>
              <c:showCatName val="0"/>
              <c:showSerName val="0"/>
              <c:showPercent val="0"/>
              <c:showBubbleSize val="0"/>
            </c:dLbl>
            <c:dLbl>
              <c:idx val="9"/>
              <c:tx>
                <c:rich>
                  <a:bodyPr/>
                  <a:lstStyle/>
                  <a:p>
                    <a:r>
                      <a:t>2.32</a:t>
                    </a:r>
                  </a:p>
                </c:rich>
              </c:tx>
              <c:dLblPos val="t"/>
              <c:showLegendKey val="0"/>
              <c:showVal val="1"/>
              <c:showCatName val="0"/>
              <c:showSerName val="0"/>
              <c:showPercent val="0"/>
              <c:showBubbleSize val="0"/>
            </c:dLbl>
            <c:dLbl>
              <c:idx val="10"/>
              <c:tx>
                <c:rich>
                  <a:bodyPr/>
                  <a:lstStyle/>
                  <a:p>
                    <a:r>
                      <a:t>2.6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3.56</a:t>
                    </a:r>
                  </a:p>
                </c:rich>
              </c:tx>
              <c:dLblPos val="t"/>
              <c:showLegendKey val="0"/>
              <c:showVal val="1"/>
              <c:showCatName val="0"/>
              <c:showSerName val="0"/>
              <c:showPercent val="0"/>
              <c:showBubbleSize val="0"/>
            </c:dLbl>
            <c:dLbl>
              <c:idx val="13"/>
              <c:tx>
                <c:rich>
                  <a:bodyPr/>
                  <a:lstStyle/>
                  <a:p>
                    <a:r>
                      <a:t>3.67</a:t>
                    </a:r>
                  </a:p>
                </c:rich>
              </c:tx>
              <c:dLblPos val="t"/>
              <c:showLegendKey val="0"/>
              <c:showVal val="1"/>
              <c:showCatName val="0"/>
              <c:showSerName val="0"/>
              <c:showPercent val="0"/>
              <c:showBubbleSize val="0"/>
            </c:dLbl>
            <c:dLbl>
              <c:idx val="14"/>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3.45</c:v>
                </c:pt>
                <c:pt idx="1">
                  <c:v>2.49</c:v>
                </c:pt>
                <c:pt idx="2">
                  <c:v>2.29</c:v>
                </c:pt>
                <c:pt idx="3">
                  <c:v>2.29</c:v>
                </c:pt>
                <c:pt idx="4">
                  <c:v>2.4</c:v>
                </c:pt>
                <c:pt idx="5">
                  <c:v>1.76</c:v>
                </c:pt>
                <c:pt idx="6">
                  <c:v>2.45</c:v>
                </c:pt>
                <c:pt idx="7">
                  <c:v>2.41</c:v>
                </c:pt>
                <c:pt idx="8">
                  <c:v>3.75</c:v>
                </c:pt>
                <c:pt idx="9">
                  <c:v>2.32</c:v>
                </c:pt>
                <c:pt idx="10">
                  <c:v>2.67</c:v>
                </c:pt>
                <c:pt idx="11">
                  <c:v>2.38</c:v>
                </c:pt>
                <c:pt idx="12">
                  <c:v>3.56</c:v>
                </c:pt>
                <c:pt idx="13">
                  <c:v>3.67</c:v>
                </c:pt>
                <c:pt idx="14">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2.97</a:t>
                    </a:r>
                  </a:p>
                </c:rich>
              </c:tx>
              <c:dLblPos val="t"/>
              <c:showLegendKey val="0"/>
              <c:showVal val="1"/>
              <c:showCatName val="0"/>
              <c:showSerName val="0"/>
              <c:showPercent val="0"/>
              <c:showBubbleSize val="0"/>
            </c:dLbl>
            <c:dLbl>
              <c:idx val="8"/>
              <c:tx>
                <c:rich>
                  <a:bodyPr/>
                  <a:lstStyle/>
                  <a:p>
                    <a:r>
                      <a:t>2.35</a:t>
                    </a:r>
                  </a:p>
                </c:rich>
              </c:tx>
              <c:dLblPos val="t"/>
              <c:showLegendKey val="0"/>
              <c:showVal val="1"/>
              <c:showCatName val="0"/>
              <c:showSerName val="0"/>
              <c:showPercent val="0"/>
              <c:showBubbleSize val="0"/>
            </c:dLbl>
            <c:dLbl>
              <c:idx val="9"/>
              <c:tx>
                <c:rich>
                  <a:bodyPr/>
                  <a:lstStyle/>
                  <a:p>
                    <a:r>
                      <a:t>3.33</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62</c:v>
                </c:pt>
                <c:pt idx="7">
                  <c:v>2.97</c:v>
                </c:pt>
                <c:pt idx="8">
                  <c:v>2.35</c:v>
                </c:pt>
                <c:pt idx="9">
                  <c:v>3.33</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79</a:t>
                    </a:r>
                  </a:p>
                </c:rich>
              </c:tx>
              <c:dLblPos val="t"/>
              <c:showLegendKey val="0"/>
              <c:showVal val="1"/>
              <c:showCatName val="0"/>
              <c:showSerName val="0"/>
              <c:showPercent val="0"/>
              <c:showBubbleSize val="0"/>
            </c:dLbl>
            <c:dLbl>
              <c:idx val="5"/>
              <c:tx>
                <c:rich>
                  <a:bodyPr/>
                  <a:lstStyle/>
                  <a:p>
                    <a:r>
                      <a:t>2.49</a:t>
                    </a:r>
                  </a:p>
                </c:rich>
              </c:tx>
              <c:dLblPos val="t"/>
              <c:showLegendKey val="0"/>
              <c:showVal val="1"/>
              <c:showCatName val="0"/>
              <c:showSerName val="0"/>
              <c:showPercent val="0"/>
              <c:showBubbleSize val="0"/>
            </c:dLbl>
            <c:dLbl>
              <c:idx val="6"/>
              <c:tx>
                <c:rich>
                  <a:bodyPr/>
                  <a:lstStyle/>
                  <a:p>
                    <a:r>
                      <a:t>2.37</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6</a:t>
                    </a:r>
                  </a:p>
                </c:rich>
              </c:tx>
              <c:dLblPos val="t"/>
              <c:showLegendKey val="0"/>
              <c:showVal val="1"/>
              <c:showCatName val="0"/>
              <c:showSerName val="0"/>
              <c:showPercent val="0"/>
              <c:showBubbleSize val="0"/>
            </c:dLbl>
            <c:dLbl>
              <c:idx val="9"/>
              <c:tx>
                <c:rich>
                  <a:bodyPr/>
                  <a:lstStyle/>
                  <a:p>
                    <a:r>
                      <a:t>2.66</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2.34</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7</a:t>
                    </a:r>
                  </a:p>
                </c:rich>
              </c:tx>
              <c:dLblPos val="t"/>
              <c:showLegendKey val="0"/>
              <c:showVal val="1"/>
              <c:showCatName val="0"/>
              <c:showSerName val="0"/>
              <c:showPercent val="0"/>
              <c:showBubbleSize val="0"/>
            </c:dLbl>
            <c:dLbl>
              <c:idx val="14"/>
              <c:tx>
                <c:rich>
                  <a:bodyPr/>
                  <a:lstStyle/>
                  <a:p>
                    <a:r>
                      <a:t>2.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27</c:v>
                </c:pt>
                <c:pt idx="1">
                  <c:v>2.53</c:v>
                </c:pt>
                <c:pt idx="2">
                  <c:v>3.49</c:v>
                </c:pt>
                <c:pt idx="3">
                  <c:v>2.46</c:v>
                </c:pt>
                <c:pt idx="4">
                  <c:v>1.79</c:v>
                </c:pt>
                <c:pt idx="5">
                  <c:v>2.49</c:v>
                </c:pt>
                <c:pt idx="6">
                  <c:v>2.37</c:v>
                </c:pt>
                <c:pt idx="7">
                  <c:v>2.41</c:v>
                </c:pt>
                <c:pt idx="8">
                  <c:v>3.76</c:v>
                </c:pt>
                <c:pt idx="9">
                  <c:v>2.66</c:v>
                </c:pt>
                <c:pt idx="10">
                  <c:v>2.41</c:v>
                </c:pt>
                <c:pt idx="11">
                  <c:v>2.34</c:v>
                </c:pt>
                <c:pt idx="12">
                  <c:v>2.24</c:v>
                </c:pt>
                <c:pt idx="13">
                  <c:v>2.57</c:v>
                </c:pt>
                <c:pt idx="14">
                  <c:v>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4</a:t>
                    </a:r>
                  </a:p>
                </c:rich>
              </c:tx>
              <c:dLblPos val="t"/>
              <c:showLegendKey val="0"/>
              <c:showVal val="1"/>
              <c:showCatName val="0"/>
              <c:showSerName val="0"/>
              <c:showPercent val="0"/>
              <c:showBubbleSize val="0"/>
            </c:dLbl>
            <c:dLbl>
              <c:idx val="7"/>
              <c:tx>
                <c:rich>
                  <a:bodyPr/>
                  <a:lstStyle/>
                  <a:p>
                    <a:r>
                      <a:t>2.72</a:t>
                    </a:r>
                  </a:p>
                </c:rich>
              </c:tx>
              <c:dLblPos val="t"/>
              <c:showLegendKey val="0"/>
              <c:showVal val="1"/>
              <c:showCatName val="0"/>
              <c:showSerName val="0"/>
              <c:showPercent val="0"/>
              <c:showBubbleSize val="0"/>
            </c:dLbl>
            <c:dLbl>
              <c:idx val="8"/>
              <c:tx>
                <c:rich>
                  <a:bodyPr/>
                  <a:lstStyle/>
                  <a:p>
                    <a:r>
                      <a:t>2.4</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5.04</c:v>
                </c:pt>
                <c:pt idx="1">
                  <c:v>2.33</c:v>
                </c:pt>
                <c:pt idx="2">
                  <c:v>2.54</c:v>
                </c:pt>
                <c:pt idx="3">
                  <c:v>3.02</c:v>
                </c:pt>
                <c:pt idx="4">
                  <c:v>3.63</c:v>
                </c:pt>
                <c:pt idx="5">
                  <c:v>4.15</c:v>
                </c:pt>
                <c:pt idx="6">
                  <c:v>2.44</c:v>
                </c:pt>
                <c:pt idx="7">
                  <c:v>2.72</c:v>
                </c:pt>
                <c:pt idx="8">
                  <c:v>2.4</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3"/>
              <c:tx>
                <c:rich>
                  <a:bodyPr/>
                  <a:lstStyle/>
                  <a:p>
                    <a:r>
                      <a:t>1.74</a:t>
                    </a:r>
                  </a:p>
                </c:rich>
              </c:tx>
              <c:dLblPos val="t"/>
              <c:showLegendKey val="0"/>
              <c:showVal val="1"/>
              <c:showCatName val="0"/>
              <c:showSerName val="0"/>
              <c:showPercent val="0"/>
              <c:showBubbleSize val="0"/>
            </c:dLbl>
            <c:dLbl>
              <c:idx val="4"/>
              <c:tx>
                <c:rich>
                  <a:bodyPr/>
                  <a:lstStyle/>
                  <a:p>
                    <a:r>
                      <a:t>2.18</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3.65</a:t>
                    </a:r>
                  </a:p>
                </c:rich>
              </c:tx>
              <c:dLblPos val="t"/>
              <c:showLegendKey val="0"/>
              <c:showVal val="1"/>
              <c:showCatName val="0"/>
              <c:showSerName val="0"/>
              <c:showPercent val="0"/>
              <c:showBubbleSize val="0"/>
            </c:dLbl>
            <c:dLbl>
              <c:idx val="9"/>
              <c:tx>
                <c:rich>
                  <a:bodyPr/>
                  <a:lstStyle/>
                  <a:p>
                    <a:r>
                      <a:t>3.94</a:t>
                    </a:r>
                  </a:p>
                </c:rich>
              </c:tx>
              <c:dLblPos val="t"/>
              <c:showLegendKey val="0"/>
              <c:showVal val="1"/>
              <c:showCatName val="0"/>
              <c:showSerName val="0"/>
              <c:showPercent val="0"/>
              <c:showBubbleSize val="0"/>
            </c:dLbl>
            <c:dLbl>
              <c:idx val="10"/>
              <c:tx>
                <c:rich>
                  <a:bodyPr/>
                  <a:lstStyle/>
                  <a:p>
                    <a:r>
                      <a:t>2.5</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27</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Salade &amp; Aperitif Fromage Frais Des Afh 1X120Gr 1P</c:v>
                </c:pt>
                <c:pt idx="11">
                  <c:v>Boursin Salade &amp; Aperitif Fromage Frais Des Figue Noix 1X120Gr 1P</c:v>
                </c:pt>
                <c:pt idx="12">
                  <c:v>Boursin Salade &amp; Aperitif Fromage Frais Des Ciboulette Echalote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43</c:v>
                </c:pt>
                <c:pt idx="1">
                  <c:v>2.65</c:v>
                </c:pt>
                <c:pt idx="2">
                  <c:v>3.48</c:v>
                </c:pt>
                <c:pt idx="3">
                  <c:v>1.74</c:v>
                </c:pt>
                <c:pt idx="4">
                  <c:v>2.18</c:v>
                </c:pt>
                <c:pt idx="5">
                  <c:v>2.32</c:v>
                </c:pt>
                <c:pt idx="6">
                  <c:v>2.39</c:v>
                </c:pt>
                <c:pt idx="7">
                  <c:v>2.32</c:v>
                </c:pt>
                <c:pt idx="8">
                  <c:v>3.65</c:v>
                </c:pt>
                <c:pt idx="9">
                  <c:v>3.94</c:v>
                </c:pt>
                <c:pt idx="10">
                  <c:v>2.5</c:v>
                </c:pt>
                <c:pt idx="11">
                  <c:v>2.28</c:v>
                </c:pt>
                <c:pt idx="12">
                  <c:v>2.27</c:v>
                </c:pt>
                <c:pt idx="13">
                  <c:v>2.6</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73</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strCache>
            </c:strRef>
          </c:cat>
          <c:val>
            <c:numRef>
              <c:f>Sheet1!$B$2:$B$10</c:f>
              <c:numCache>
                <c:formatCode>General</c:formatCode>
                <c:ptCount val="9"/>
                <c:pt idx="0">
                  <c:v>2.93</c:v>
                </c:pt>
                <c:pt idx="1">
                  <c:v>5.51</c:v>
                </c:pt>
                <c:pt idx="2">
                  <c:v>3.74</c:v>
                </c:pt>
                <c:pt idx="3">
                  <c:v>2.21</c:v>
                </c:pt>
                <c:pt idx="4">
                  <c:v>2.42</c:v>
                </c:pt>
                <c:pt idx="5">
                  <c:v>3.93</c:v>
                </c:pt>
                <c:pt idx="6">
                  <c:v>2.73</c:v>
                </c:pt>
                <c:pt idx="7">
                  <c:v>3.01</c:v>
                </c:pt>
                <c:pt idx="8">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4</a:t>
                    </a:r>
                  </a:p>
                </c:rich>
              </c:tx>
              <c:dLblPos val="t"/>
              <c:showLegendKey val="0"/>
              <c:showVal val="1"/>
              <c:showCatName val="0"/>
              <c:showSerName val="0"/>
              <c:showPercent val="0"/>
              <c:showBubbleSize val="0"/>
            </c:dLbl>
            <c:dLbl>
              <c:idx val="4"/>
              <c:tx>
                <c:rich>
                  <a:bodyPr/>
                  <a:lstStyle/>
                  <a:p>
                    <a:r>
                      <a:t>1.86</a:t>
                    </a:r>
                  </a:p>
                </c:rich>
              </c:tx>
              <c:dLblPos val="t"/>
              <c:showLegendKey val="0"/>
              <c:showVal val="1"/>
              <c:showCatName val="0"/>
              <c:showSerName val="0"/>
              <c:showPercent val="0"/>
              <c:showBubbleSize val="0"/>
            </c:dLbl>
            <c:dLbl>
              <c:idx val="5"/>
              <c:tx>
                <c:rich>
                  <a:bodyPr/>
                  <a:lstStyle/>
                  <a:p>
                    <a:r>
                      <a:t>2.55</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2.46</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77</a:t>
                    </a:r>
                  </a:p>
                </c:rich>
              </c:tx>
              <c:dLblPos val="t"/>
              <c:showLegendKey val="0"/>
              <c:showVal val="1"/>
              <c:showCatName val="0"/>
              <c:showSerName val="0"/>
              <c:showPercent val="0"/>
              <c:showBubbleSize val="0"/>
            </c:dLbl>
            <c:dLbl>
              <c:idx val="10"/>
              <c:tx>
                <c:rich>
                  <a:bodyPr/>
                  <a:lstStyle/>
                  <a:p>
                    <a:r>
                      <a:t>2.4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43</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EL BOURSIN SALADE &amp; APERITIF SOFT CHEESE SALADE 1 CT X 120GR</c:v>
                </c:pt>
              </c:strCache>
            </c:strRef>
          </c:cat>
          <c:val>
            <c:numRef>
              <c:f>Sheet1!$B$2:$B$16</c:f>
              <c:numCache>
                <c:formatCode>General</c:formatCode>
                <c:ptCount val="15"/>
                <c:pt idx="0">
                  <c:v>3.53</c:v>
                </c:pt>
                <c:pt idx="1">
                  <c:v>2.51</c:v>
                </c:pt>
                <c:pt idx="2">
                  <c:v>2.2</c:v>
                </c:pt>
                <c:pt idx="3">
                  <c:v>2.44</c:v>
                </c:pt>
                <c:pt idx="4">
                  <c:v>1.86</c:v>
                </c:pt>
                <c:pt idx="5">
                  <c:v>2.55</c:v>
                </c:pt>
                <c:pt idx="6">
                  <c:v>2.48</c:v>
                </c:pt>
                <c:pt idx="7">
                  <c:v>2.46</c:v>
                </c:pt>
                <c:pt idx="8">
                  <c:v>3.93</c:v>
                </c:pt>
                <c:pt idx="9">
                  <c:v>2.77</c:v>
                </c:pt>
                <c:pt idx="10">
                  <c:v>2.47</c:v>
                </c:pt>
                <c:pt idx="11">
                  <c:v>2.38</c:v>
                </c:pt>
                <c:pt idx="12">
                  <c:v>2.37</c:v>
                </c:pt>
                <c:pt idx="13">
                  <c:v>2.43</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6</a:t>
                    </a:r>
                  </a:p>
                </c:rich>
              </c:tx>
              <c:dLblPos val="t"/>
              <c:showLegendKey val="0"/>
              <c:showVal val="1"/>
              <c:showCatName val="0"/>
              <c:showSerName val="0"/>
              <c:showPercent val="0"/>
              <c:showBubbleSize val="0"/>
            </c:dLbl>
            <c:dLbl>
              <c:idx val="2"/>
              <c:tx>
                <c:rich>
                  <a:bodyPr/>
                  <a:lstStyle/>
                  <a:p>
                    <a:r>
                      <a:t>3.66</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2</c:v>
                </c:pt>
                <c:pt idx="1">
                  <c:v>3.6</c:v>
                </c:pt>
                <c:pt idx="2">
                  <c:v>3.66</c:v>
                </c:pt>
                <c:pt idx="3">
                  <c:v>3.76</c:v>
                </c:pt>
                <c:pt idx="4">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strCache>
            </c:strRef>
          </c:cat>
          <c:val>
            <c:numRef>
              <c:f>Sheet1!$B$2:$B$4</c:f>
              <c:numCache>
                <c:formatCode>General</c:formatCode>
                <c:ptCount val="3"/>
                <c:pt idx="0">
                  <c:v>3.66</c:v>
                </c:pt>
                <c:pt idx="1">
                  <c:v>3.55</c:v>
                </c:pt>
                <c:pt idx="2">
                  <c:v>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2.41</a:t>
                    </a:r>
                  </a:p>
                </c:rich>
              </c:tx>
              <c:dLblPos val="t"/>
              <c:showLegendKey val="0"/>
              <c:showVal val="1"/>
              <c:showCatName val="0"/>
              <c:showSerName val="0"/>
              <c:showPercent val="0"/>
              <c:showBubbleSize val="0"/>
            </c:dLbl>
            <c:dLbl>
              <c:idx val="3"/>
              <c:tx>
                <c:rich>
                  <a:bodyPr/>
                  <a:lstStyle/>
                  <a:p>
                    <a:r>
                      <a:t>3.49</a:t>
                    </a:r>
                  </a:p>
                </c:rich>
              </c:tx>
              <c:dLblPos val="t"/>
              <c:showLegendKey val="0"/>
              <c:showVal val="1"/>
              <c:showCatName val="0"/>
              <c:showSerName val="0"/>
              <c:showPercent val="0"/>
              <c:showBubbleSize val="0"/>
            </c:dLbl>
            <c:dLbl>
              <c:idx val="4"/>
              <c:tx>
                <c:rich>
                  <a:bodyPr/>
                  <a:lstStyle/>
                  <a:p>
                    <a:r>
                      <a:t>2.46</a:t>
                    </a:r>
                  </a:p>
                </c:rich>
              </c:tx>
              <c:dLblPos val="t"/>
              <c:showLegendKey val="0"/>
              <c:showVal val="1"/>
              <c:showCatName val="0"/>
              <c:showSerName val="0"/>
              <c:showPercent val="0"/>
              <c:showBubbleSize val="0"/>
            </c:dLbl>
            <c:dLbl>
              <c:idx val="5"/>
              <c:tx>
                <c:rich>
                  <a:bodyPr/>
                  <a:lstStyle/>
                  <a:p>
                    <a:r>
                      <a:t>1.7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dLbl>
              <c:idx val="7"/>
              <c:tx>
                <c:rich>
                  <a:bodyPr/>
                  <a:lstStyle/>
                  <a:p>
                    <a:r>
                      <a:t>2.37</a:t>
                    </a:r>
                  </a:p>
                </c:rich>
              </c:tx>
              <c:dLblPos val="t"/>
              <c:showLegendKey val="0"/>
              <c:showVal val="1"/>
              <c:showCatName val="0"/>
              <c:showSerName val="0"/>
              <c:showPercent val="0"/>
              <c:showBubbleSize val="0"/>
            </c:dLbl>
            <c:dLbl>
              <c:idx val="8"/>
              <c:tx>
                <c:rich>
                  <a:bodyPr/>
                  <a:lstStyle/>
                  <a:p>
                    <a:r>
                      <a:t>2.34</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24</a:t>
                    </a:r>
                  </a:p>
                </c:rich>
              </c:tx>
              <c:dLblPos val="t"/>
              <c:showLegendKey val="0"/>
              <c:showVal val="1"/>
              <c:showCatName val="0"/>
              <c:showSerName val="0"/>
              <c:showPercent val="0"/>
              <c:showBubbleSize val="0"/>
            </c:dLbl>
            <c:dLbl>
              <c:idx val="11"/>
              <c:tx>
                <c:rich>
                  <a:bodyPr/>
                  <a:lstStyle/>
                  <a:p>
                    <a:r>
                      <a:t>3.76</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6</a:t>
                    </a:r>
                  </a:p>
                </c:rich>
              </c:tx>
              <c:dLblPos val="t"/>
              <c:showLegendKey val="0"/>
              <c:showVal val="1"/>
              <c:showCatName val="0"/>
              <c:showSerName val="0"/>
              <c:showPercent val="0"/>
              <c:showBubbleSize val="0"/>
            </c:dLbl>
            <c:dLbl>
              <c:idx val="14"/>
              <c:tx>
                <c:rich>
                  <a:bodyPr/>
                  <a:lstStyle/>
                  <a:p>
                    <a:r>
                      <a:t>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Salade &amp; Aperitif Fromage Frais Des Ciboulette Echalote 1X120Gr 1P</c:v>
                </c:pt>
                <c:pt idx="9">
                  <c:v>Boursin Classique Fromage Frais A Tartiner Poivre Boite 1X150Gr 1P</c:v>
                </c:pt>
                <c:pt idx="10">
                  <c:v>Boursin Salade &amp; Aperitif Fromage Frais Des Figue Noix 1X120Gr 1P</c:v>
                </c:pt>
                <c:pt idx="11">
                  <c:v>Boursin Classique Fromage Frais A Tartiner Afh 1X256Gr 16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7</c:v>
                </c:pt>
                <c:pt idx="1">
                  <c:v>2.53</c:v>
                </c:pt>
                <c:pt idx="2">
                  <c:v>2.41</c:v>
                </c:pt>
                <c:pt idx="3">
                  <c:v>3.49</c:v>
                </c:pt>
                <c:pt idx="4">
                  <c:v>2.46</c:v>
                </c:pt>
                <c:pt idx="5">
                  <c:v>1.79</c:v>
                </c:pt>
                <c:pt idx="6">
                  <c:v>2.49</c:v>
                </c:pt>
                <c:pt idx="7">
                  <c:v>2.37</c:v>
                </c:pt>
                <c:pt idx="8">
                  <c:v>2.34</c:v>
                </c:pt>
                <c:pt idx="9">
                  <c:v>2.41</c:v>
                </c:pt>
                <c:pt idx="10">
                  <c:v>2.24</c:v>
                </c:pt>
                <c:pt idx="11">
                  <c:v>3.76</c:v>
                </c:pt>
                <c:pt idx="12">
                  <c:v>3.62</c:v>
                </c:pt>
                <c:pt idx="13">
                  <c:v>3.6</c:v>
                </c:pt>
                <c:pt idx="14">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3.77</a:t>
                    </a:r>
                  </a:p>
                </c:rich>
              </c:tx>
              <c:dLblPos val="t"/>
              <c:showLegendKey val="0"/>
              <c:showVal val="1"/>
              <c:showCatName val="0"/>
              <c:showSerName val="0"/>
              <c:showPercent val="0"/>
              <c:showBubbleSize val="0"/>
            </c:dLbl>
            <c:dLbl>
              <c:idx val="3"/>
              <c:tx>
                <c:rich>
                  <a:bodyPr/>
                  <a:lstStyle/>
                  <a:p>
                    <a:r>
                      <a:t>3.31</a:t>
                    </a:r>
                  </a:p>
                </c:rich>
              </c:tx>
              <c:dLblPos val="t"/>
              <c:showLegendKey val="0"/>
              <c:showVal val="1"/>
              <c:showCatName val="0"/>
              <c:showSerName val="0"/>
              <c:showPercent val="0"/>
              <c:showBubbleSize val="0"/>
            </c:dLbl>
            <c:dLbl>
              <c:idx val="4"/>
              <c:tx>
                <c:rich>
                  <a:bodyPr/>
                  <a:lstStyle/>
                  <a:p>
                    <a:r>
                      <a:t>3.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7</c:v>
                </c:pt>
                <c:pt idx="1">
                  <c:v>3.76</c:v>
                </c:pt>
                <c:pt idx="2">
                  <c:v>3.77</c:v>
                </c:pt>
                <c:pt idx="3">
                  <c:v>3.31</c:v>
                </c:pt>
                <c:pt idx="4">
                  <c:v>3.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3.0</a:t>
                    </a:r>
                  </a:p>
                </c:rich>
              </c:tx>
              <c:dLblPos val="t"/>
              <c:showLegendKey val="0"/>
              <c:showVal val="1"/>
              <c:showCatName val="0"/>
              <c:showSerName val="0"/>
              <c:showPercent val="0"/>
              <c:showBubbleSize val="0"/>
            </c:dLbl>
            <c:dLbl>
              <c:idx val="8"/>
              <c:tx>
                <c:rich>
                  <a:bodyPr/>
                  <a:lstStyle/>
                  <a:p>
                    <a:r>
                      <a:t>3.68</a:t>
                    </a:r>
                  </a:p>
                </c:rich>
              </c:tx>
              <c:dLblPos val="t"/>
              <c:showLegendKey val="0"/>
              <c:showVal val="1"/>
              <c:showCatName val="0"/>
              <c:showSerName val="0"/>
              <c:showPercent val="0"/>
              <c:showBubbleSize val="0"/>
            </c:dLbl>
            <c:dLbl>
              <c:idx val="9"/>
              <c:tx>
                <c:rich>
                  <a:bodyPr/>
                  <a:lstStyle/>
                  <a:p>
                    <a:r>
                      <a:t>2.36</a:t>
                    </a:r>
                  </a:p>
                </c:rich>
              </c:tx>
              <c:dLblPos val="t"/>
              <c:showLegendKey val="0"/>
              <c:showVal val="1"/>
              <c:showCatName val="0"/>
              <c:showSerName val="0"/>
              <c:showPercent val="0"/>
              <c:showBubbleSize val="0"/>
            </c:dLbl>
            <c:dLbl>
              <c:idx val="10"/>
              <c:tx>
                <c:rich>
                  <a:bodyPr/>
                  <a:lstStyle/>
                  <a:p>
                    <a:r>
                      <a:t>3.34</a:t>
                    </a:r>
                  </a:p>
                </c:rich>
              </c:tx>
              <c:dLblPos val="t"/>
              <c:showLegendKey val="0"/>
              <c:showVal val="1"/>
              <c:showCatName val="0"/>
              <c:showSerName val="0"/>
              <c:showPercent val="0"/>
              <c:showBubbleSize val="0"/>
            </c:dLbl>
            <c:dLbl>
              <c:idx val="11"/>
              <c:tx>
                <c:rich>
                  <a:bodyPr/>
                  <a:lstStyle/>
                  <a:p>
                    <a:r>
                      <a:t>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Creme Fromage Blanc Frais Carre 1X240Gr 12P</c:v>
                </c:pt>
                <c:pt idx="9">
                  <c:v>Kiri Delicieusement Fouette Fromage Frais A Tartiner 1X125Gr 1P</c:v>
                </c:pt>
                <c:pt idx="10">
                  <c:v>Kiri Delicieusement Fouette Fromage Frais A Tartiner 1X210Gr 1P</c:v>
                </c:pt>
                <c:pt idx="11">
                  <c:v>Kiri Delicieusement Fouette Fromage Frais A Tartiner 1X160Gr 10P</c:v>
                </c:pt>
              </c:strCache>
            </c:strRef>
          </c:cat>
          <c:val>
            <c:numRef>
              <c:f>Sheet1!$B$2:$B$13</c:f>
              <c:numCache>
                <c:formatCode>General</c:formatCode>
                <c:ptCount val="12"/>
                <c:pt idx="0">
                  <c:v>2.95</c:v>
                </c:pt>
                <c:pt idx="1">
                  <c:v>5.14</c:v>
                </c:pt>
                <c:pt idx="2">
                  <c:v>2.28</c:v>
                </c:pt>
                <c:pt idx="3">
                  <c:v>2.43</c:v>
                </c:pt>
                <c:pt idx="4">
                  <c:v>3.59</c:v>
                </c:pt>
                <c:pt idx="5">
                  <c:v>4.14</c:v>
                </c:pt>
                <c:pt idx="6">
                  <c:v>2.62</c:v>
                </c:pt>
                <c:pt idx="7">
                  <c:v>3.0</c:v>
                </c:pt>
                <c:pt idx="8">
                  <c:v>3.68</c:v>
                </c:pt>
                <c:pt idx="9">
                  <c:v>2.36</c:v>
                </c:pt>
                <c:pt idx="10">
                  <c:v>3.34</c:v>
                </c:pt>
                <c:pt idx="11">
                  <c:v>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1.73</a:t>
                    </a:r>
                  </a:p>
                </c:rich>
              </c:tx>
              <c:dLblPos val="t"/>
              <c:showLegendKey val="0"/>
              <c:showVal val="1"/>
              <c:showCatName val="0"/>
              <c:showSerName val="0"/>
              <c:showPercent val="0"/>
              <c:showBubbleSize val="0"/>
            </c:dLbl>
            <c:dLbl>
              <c:idx val="5"/>
              <c:tx>
                <c:rich>
                  <a:bodyPr/>
                  <a:lstStyle/>
                  <a:p>
                    <a:r>
                      <a:t>2.3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2.3</a:t>
                    </a:r>
                  </a:p>
                </c:rich>
              </c:tx>
              <c:dLblPos val="t"/>
              <c:showLegendKey val="0"/>
              <c:showVal val="1"/>
              <c:showCatName val="0"/>
              <c:showSerName val="0"/>
              <c:showPercent val="0"/>
              <c:showBubbleSize val="0"/>
            </c:dLbl>
            <c:dLbl>
              <c:idx val="8"/>
              <c:tx>
                <c:rich>
                  <a:bodyPr/>
                  <a:lstStyle/>
                  <a:p>
                    <a:r>
                      <a:t>3.67</a:t>
                    </a:r>
                  </a:p>
                </c:rich>
              </c:tx>
              <c:dLblPos val="t"/>
              <c:showLegendKey val="0"/>
              <c:showVal val="1"/>
              <c:showCatName val="0"/>
              <c:showSerName val="0"/>
              <c:showPercent val="0"/>
              <c:showBubbleSize val="0"/>
            </c:dLbl>
            <c:dLbl>
              <c:idx val="9"/>
              <c:tx>
                <c:rich>
                  <a:bodyPr/>
                  <a:lstStyle/>
                  <a:p>
                    <a:r>
                      <a:t>2.59</a:t>
                    </a:r>
                  </a:p>
                </c:rich>
              </c:tx>
              <c:dLblPos val="t"/>
              <c:showLegendKey val="0"/>
              <c:showVal val="1"/>
              <c:showCatName val="0"/>
              <c:showSerName val="0"/>
              <c:showPercent val="0"/>
              <c:showBubbleSize val="0"/>
            </c:dLbl>
            <c:dLbl>
              <c:idx val="10"/>
              <c:tx>
                <c:rich>
                  <a:bodyPr/>
                  <a:lstStyle/>
                  <a:p>
                    <a:r>
                      <a:t>2.97</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33</a:t>
                    </a:r>
                  </a:p>
                </c:rich>
              </c:tx>
              <c:dLblPos val="t"/>
              <c:showLegendKey val="0"/>
              <c:showVal val="1"/>
              <c:showCatName val="0"/>
              <c:showSerName val="0"/>
              <c:showPercent val="0"/>
              <c:showBubbleSize val="0"/>
            </c:dLbl>
            <c:dLbl>
              <c:idx val="14"/>
              <c:tx>
                <c:rich>
                  <a:bodyPr/>
                  <a:lstStyle/>
                  <a:p>
                    <a:r>
                      <a:t>2.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Onctueux Fromage Frais A Tartiner Afh 1X210Gr 1P</c:v>
                </c:pt>
                <c:pt idx="11">
                  <c:v>Boursin Classique Fromage Frais A Tartiner Afh Boite 1X80Gr 1P</c:v>
                </c:pt>
                <c:pt idx="12">
                  <c:v>Boursin Salade &amp; Aperitif Fromage Frais Des Afh 1X120Gr 1P</c:v>
                </c:pt>
                <c:pt idx="13">
                  <c:v>Boursin Salade &amp; Aperitif Fromage Frais Des Ciboulette Echalote 1X120Gr 1P</c:v>
                </c:pt>
                <c:pt idx="14">
                  <c:v>Boursin Salade &amp; Aperitif Fromage Frais Des Figue Noix 1X120Gr 1P</c:v>
                </c:pt>
              </c:strCache>
            </c:strRef>
          </c:cat>
          <c:val>
            <c:numRef>
              <c:f>Sheet1!$B$2:$B$16</c:f>
              <c:numCache>
                <c:formatCode>General</c:formatCode>
                <c:ptCount val="15"/>
                <c:pt idx="0">
                  <c:v>2.24</c:v>
                </c:pt>
                <c:pt idx="1">
                  <c:v>2.5</c:v>
                </c:pt>
                <c:pt idx="2">
                  <c:v>3.41</c:v>
                </c:pt>
                <c:pt idx="3">
                  <c:v>2.37</c:v>
                </c:pt>
                <c:pt idx="4">
                  <c:v>1.73</c:v>
                </c:pt>
                <c:pt idx="5">
                  <c:v>2.38</c:v>
                </c:pt>
                <c:pt idx="6">
                  <c:v>2.32</c:v>
                </c:pt>
                <c:pt idx="7">
                  <c:v>2.3</c:v>
                </c:pt>
                <c:pt idx="8">
                  <c:v>3.67</c:v>
                </c:pt>
                <c:pt idx="9">
                  <c:v>2.59</c:v>
                </c:pt>
                <c:pt idx="10">
                  <c:v>2.97</c:v>
                </c:pt>
                <c:pt idx="11">
                  <c:v>1.36</c:v>
                </c:pt>
                <c:pt idx="12">
                  <c:v>2.37</c:v>
                </c:pt>
                <c:pt idx="13">
                  <c:v>2.33</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2.82</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4.98</c:v>
                </c:pt>
                <c:pt idx="1">
                  <c:v>2.32</c:v>
                </c:pt>
                <c:pt idx="2">
                  <c:v>3.01</c:v>
                </c:pt>
                <c:pt idx="3">
                  <c:v>2.55</c:v>
                </c:pt>
                <c:pt idx="4">
                  <c:v>3.63</c:v>
                </c:pt>
                <c:pt idx="5">
                  <c:v>3.99</c:v>
                </c:pt>
                <c:pt idx="6">
                  <c:v>2.42</c:v>
                </c:pt>
                <c:pt idx="7">
                  <c:v>2.82</c:v>
                </c:pt>
                <c:pt idx="8">
                  <c:v>2.39</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1.68</a:t>
                    </a:r>
                  </a:p>
                </c:rich>
              </c:tx>
              <c:dLblPos val="t"/>
              <c:showLegendKey val="0"/>
              <c:showVal val="1"/>
              <c:showCatName val="0"/>
              <c:showSerName val="0"/>
              <c:showPercent val="0"/>
              <c:showBubbleSize val="0"/>
            </c:dLbl>
            <c:dLbl>
              <c:idx val="4"/>
              <c:tx>
                <c:rich>
                  <a:bodyPr/>
                  <a:lstStyle/>
                  <a:p>
                    <a:r>
                      <a:t>2.24</a:t>
                    </a:r>
                  </a:p>
                </c:rich>
              </c:tx>
              <c:dLblPos val="t"/>
              <c:showLegendKey val="0"/>
              <c:showVal val="1"/>
              <c:showCatName val="0"/>
              <c:showSerName val="0"/>
              <c:showPercent val="0"/>
              <c:showBubbleSize val="0"/>
            </c:dLbl>
            <c:dLbl>
              <c:idx val="5"/>
              <c:tx>
                <c:rich>
                  <a:bodyPr/>
                  <a:lstStyle/>
                  <a:p>
                    <a:r>
                      <a:t>2.15</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1.33</a:t>
                    </a:r>
                  </a:p>
                </c:rich>
              </c:tx>
              <c:dLblPos val="t"/>
              <c:showLegendKey val="0"/>
              <c:showVal val="1"/>
              <c:showCatName val="0"/>
              <c:showSerName val="0"/>
              <c:showPercent val="0"/>
              <c:showBubbleSize val="0"/>
            </c:dLbl>
            <c:dLbl>
              <c:idx val="8"/>
              <c:tx>
                <c:rich>
                  <a:bodyPr/>
                  <a:lstStyle/>
                  <a:p>
                    <a:r>
                      <a:t>3.43</a:t>
                    </a:r>
                  </a:p>
                </c:rich>
              </c:tx>
              <c:dLblPos val="t"/>
              <c:showLegendKey val="0"/>
              <c:showVal val="1"/>
              <c:showCatName val="0"/>
              <c:showSerName val="0"/>
              <c:showPercent val="0"/>
              <c:showBubbleSize val="0"/>
            </c:dLbl>
            <c:dLbl>
              <c:idx val="9"/>
              <c:tx>
                <c:rich>
                  <a:bodyPr/>
                  <a:lstStyle/>
                  <a:p>
                    <a:r>
                      <a:t>2.46</a:t>
                    </a:r>
                  </a:p>
                </c:rich>
              </c:tx>
              <c:dLblPos val="t"/>
              <c:showLegendKey val="0"/>
              <c:showVal val="1"/>
              <c:showCatName val="0"/>
              <c:showSerName val="0"/>
              <c:showPercent val="0"/>
              <c:showBubbleSize val="0"/>
            </c:dLbl>
            <c:dLbl>
              <c:idx val="10"/>
              <c:tx>
                <c:rich>
                  <a:bodyPr/>
                  <a:lstStyle/>
                  <a:p>
                    <a:r>
                      <a:t>2.28</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Salade &amp; Aperitif Fromage Frais Des Afh 1X120Gr 1P</c:v>
                </c:pt>
                <c:pt idx="10">
                  <c:v>Boursin Salade &amp; Aperitif Fromage Frais Des Ciboulette Echalote 1X120Gr 1P</c:v>
                </c:pt>
                <c:pt idx="11">
                  <c:v>Boursin Salade &amp; Aperitif Fromage Frais Des Figue Noix 1X120Gr 1P</c:v>
                </c:pt>
                <c:pt idx="12">
                  <c:v>Boursin Salade &amp; Aperitif Fromage Frais Des Citron Romarin 1X120Gr 1P</c:v>
                </c:pt>
                <c:pt idx="13">
                  <c:v>Boursin Salade &amp; Aperitif Fromage Frais Des Noisette Et 3 Noix 1X120Gr 1P</c:v>
                </c:pt>
                <c:pt idx="14">
                  <c:v>BEL BOURSIN SALADE &amp; APERITIF SOFT CHEESE SALADE 1 CT X 120GR</c:v>
                </c:pt>
              </c:strCache>
            </c:strRef>
          </c:cat>
          <c:val>
            <c:numRef>
              <c:f>Sheet1!$B$2:$B$16</c:f>
              <c:numCache>
                <c:formatCode>General</c:formatCode>
                <c:ptCount val="15"/>
                <c:pt idx="0">
                  <c:v>2.36</c:v>
                </c:pt>
                <c:pt idx="1">
                  <c:v>2.62</c:v>
                </c:pt>
                <c:pt idx="2">
                  <c:v>3.47</c:v>
                </c:pt>
                <c:pt idx="3">
                  <c:v>1.68</c:v>
                </c:pt>
                <c:pt idx="4">
                  <c:v>2.24</c:v>
                </c:pt>
                <c:pt idx="5">
                  <c:v>2.15</c:v>
                </c:pt>
                <c:pt idx="6">
                  <c:v>2.38</c:v>
                </c:pt>
                <c:pt idx="7">
                  <c:v>1.33</c:v>
                </c:pt>
                <c:pt idx="8">
                  <c:v>3.43</c:v>
                </c:pt>
                <c:pt idx="9">
                  <c:v>2.46</c:v>
                </c:pt>
                <c:pt idx="10">
                  <c:v>2.28</c:v>
                </c:pt>
                <c:pt idx="11">
                  <c:v>2.28</c:v>
                </c:pt>
                <c:pt idx="12">
                  <c:v>2.51</c:v>
                </c:pt>
                <c:pt idx="13">
                  <c:v>2.26</c:v>
                </c:pt>
                <c:pt idx="14">
                  <c:v>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dLbl>
              <c:idx val="6"/>
              <c:tx>
                <c:rich>
                  <a:bodyPr/>
                  <a:lstStyle/>
                  <a:p>
                    <a:r>
                      <a:t>3.02</a:t>
                    </a:r>
                  </a:p>
                </c:rich>
              </c:tx>
              <c:dLblPos val="t"/>
              <c:showLegendKey val="0"/>
              <c:showVal val="1"/>
              <c:showCatName val="0"/>
              <c:showSerName val="0"/>
              <c:showPercent val="0"/>
              <c:showBubbleSize val="0"/>
            </c:dLbl>
            <c:dLbl>
              <c:idx val="7"/>
              <c:tx>
                <c:rich>
                  <a:bodyPr/>
                  <a:lstStyle/>
                  <a:p>
                    <a:r>
                      <a:t>3.93</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pt idx="8">
                  <c:v>Kiri Delicieusement Fouette Fromage Frais A Tartiner 1X125Gr 1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72</c:v>
                </c:pt>
                <c:pt idx="6">
                  <c:v>3.02</c:v>
                </c:pt>
                <c:pt idx="7">
                  <c:v>3.93</c:v>
                </c:pt>
                <c:pt idx="8">
                  <c:v>2.39</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1.76</a:t>
                    </a:r>
                  </a:p>
                </c:rich>
              </c:tx>
              <c:dLblPos val="t"/>
              <c:showLegendKey val="0"/>
              <c:showVal val="1"/>
              <c:showCatName val="0"/>
              <c:showSerName val="0"/>
              <c:showPercent val="0"/>
              <c:showBubbleSize val="0"/>
            </c:dLbl>
            <c:dLbl>
              <c:idx val="5"/>
              <c:tx>
                <c:rich>
                  <a:bodyPr/>
                  <a:lstStyle/>
                  <a:p>
                    <a:r>
                      <a:t>2.45</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3.75</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67</a:t>
                    </a:r>
                  </a:p>
                </c:rich>
              </c:tx>
              <c:dLblPos val="t"/>
              <c:showLegendKey val="0"/>
              <c:showVal val="1"/>
              <c:showCatName val="0"/>
              <c:showSerName val="0"/>
              <c:showPercent val="0"/>
              <c:showBubbleSize val="0"/>
            </c:dLbl>
            <c:dLbl>
              <c:idx val="10"/>
              <c:tx>
                <c:rich>
                  <a:bodyPr/>
                  <a:lstStyle/>
                  <a:p>
                    <a:r>
                      <a:t>1.42</a:t>
                    </a:r>
                  </a:p>
                </c:rich>
              </c:tx>
              <c:dLblPos val="t"/>
              <c:showLegendKey val="0"/>
              <c:showVal val="1"/>
              <c:showCatName val="0"/>
              <c:showSerName val="0"/>
              <c:showPercent val="0"/>
              <c:showBubbleSize val="0"/>
            </c:dLbl>
            <c:dLbl>
              <c:idx val="11"/>
              <c:tx>
                <c:rich>
                  <a:bodyPr/>
                  <a:lstStyle/>
                  <a:p>
                    <a:r>
                      <a:t>2.4</a:t>
                    </a:r>
                  </a:p>
                </c:rich>
              </c:tx>
              <c:dLblPos val="t"/>
              <c:showLegendKey val="0"/>
              <c:showVal val="1"/>
              <c:showCatName val="0"/>
              <c:showSerName val="0"/>
              <c:showPercent val="0"/>
              <c:showBubbleSize val="0"/>
            </c:dLbl>
            <c:dLbl>
              <c:idx val="12"/>
              <c:tx>
                <c:rich>
                  <a:bodyPr/>
                  <a:lstStyle/>
                  <a:p>
                    <a:r>
                      <a:t>2.38</a:t>
                    </a:r>
                  </a:p>
                </c:rich>
              </c:tx>
              <c:dLblPos val="t"/>
              <c:showLegendKey val="0"/>
              <c:showVal val="1"/>
              <c:showCatName val="0"/>
              <c:showSerName val="0"/>
              <c:showPercent val="0"/>
              <c:showBubbleSize val="0"/>
            </c:dLbl>
            <c:dLbl>
              <c:idx val="13"/>
              <c:tx>
                <c:rich>
                  <a:bodyPr/>
                  <a:lstStyle/>
                  <a:p>
                    <a:r>
                      <a:t>2.36</a:t>
                    </a:r>
                  </a:p>
                </c:rich>
              </c:tx>
              <c:dLblPos val="t"/>
              <c:showLegendKey val="0"/>
              <c:showVal val="1"/>
              <c:showCatName val="0"/>
              <c:showSerName val="0"/>
              <c:showPercent val="0"/>
              <c:showBubbleSize val="0"/>
            </c:dLbl>
            <c:dLbl>
              <c:idx val="14"/>
              <c:tx>
                <c:rich>
                  <a:bodyPr/>
                  <a:lstStyle/>
                  <a:p>
                    <a:r>
                      <a:t>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Salade &amp; Aperitif Fromage Frais Des Afh 1X120Gr 1P</c:v>
                </c:pt>
                <c:pt idx="12">
                  <c:v>Boursin Salade &amp; Aperitif Fromage Frais Des Ciboulette Echalote 1X120Gr 1P</c:v>
                </c:pt>
                <c:pt idx="13">
                  <c:v>Boursin Salade &amp; Aperitif Fromage Frais Des Figue Noix 1X120Gr 1P</c:v>
                </c:pt>
                <c:pt idx="14">
                  <c:v>Boursin Salade &amp; Aperitif Fromage Frais Des Citron Romarin 1X120Gr 1P</c:v>
                </c:pt>
              </c:strCache>
            </c:strRef>
          </c:cat>
          <c:val>
            <c:numRef>
              <c:f>Sheet1!$B$2:$B$16</c:f>
              <c:numCache>
                <c:formatCode>General</c:formatCode>
                <c:ptCount val="15"/>
                <c:pt idx="0">
                  <c:v>3.45</c:v>
                </c:pt>
                <c:pt idx="1">
                  <c:v>2.49</c:v>
                </c:pt>
                <c:pt idx="2">
                  <c:v>2.29</c:v>
                </c:pt>
                <c:pt idx="3">
                  <c:v>2.29</c:v>
                </c:pt>
                <c:pt idx="4">
                  <c:v>1.76</c:v>
                </c:pt>
                <c:pt idx="5">
                  <c:v>2.45</c:v>
                </c:pt>
                <c:pt idx="6">
                  <c:v>2.41</c:v>
                </c:pt>
                <c:pt idx="7">
                  <c:v>3.75</c:v>
                </c:pt>
                <c:pt idx="8">
                  <c:v>2.32</c:v>
                </c:pt>
                <c:pt idx="9">
                  <c:v>2.67</c:v>
                </c:pt>
                <c:pt idx="10">
                  <c:v>1.42</c:v>
                </c:pt>
                <c:pt idx="11">
                  <c:v>2.4</c:v>
                </c:pt>
                <c:pt idx="12">
                  <c:v>2.38</c:v>
                </c:pt>
                <c:pt idx="13">
                  <c:v>2.36</c:v>
                </c:pt>
                <c:pt idx="14">
                  <c:v>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44</a:t>
                    </a:r>
                  </a:p>
                </c:rich>
              </c:tx>
              <c:dLblPos val="t"/>
              <c:showLegendKey val="0"/>
              <c:showVal val="1"/>
              <c:showCatName val="0"/>
              <c:showSerName val="0"/>
              <c:showPercent val="0"/>
              <c:showBubbleSize val="0"/>
            </c:dLbl>
            <c:dLbl>
              <c:idx val="9"/>
              <c:tx>
                <c:rich>
                  <a:bodyPr/>
                  <a:lstStyle/>
                  <a:p>
                    <a:r>
                      <a:t>2.8</a:t>
                    </a:r>
                  </a:p>
                </c:rich>
              </c:tx>
              <c:dLblPos val="t"/>
              <c:showLegendKey val="0"/>
              <c:showVal val="1"/>
              <c:showCatName val="0"/>
              <c:showSerName val="0"/>
              <c:showPercent val="0"/>
              <c:showBubbleSize val="0"/>
            </c:dLbl>
            <c:dLbl>
              <c:idx val="1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5.04</c:v>
                </c:pt>
                <c:pt idx="1">
                  <c:v>2.33</c:v>
                </c:pt>
                <c:pt idx="2">
                  <c:v>2.54</c:v>
                </c:pt>
                <c:pt idx="3">
                  <c:v>3.02</c:v>
                </c:pt>
                <c:pt idx="4">
                  <c:v>3.63</c:v>
                </c:pt>
                <c:pt idx="5">
                  <c:v>4.15</c:v>
                </c:pt>
                <c:pt idx="6">
                  <c:v>2.4</c:v>
                </c:pt>
                <c:pt idx="7">
                  <c:v>3.36</c:v>
                </c:pt>
                <c:pt idx="8">
                  <c:v>2.44</c:v>
                </c:pt>
                <c:pt idx="9">
                  <c:v>2.8</c:v>
                </c:pt>
                <c:pt idx="1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4</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59</a:t>
                    </a:r>
                  </a:p>
                </c:rich>
              </c:tx>
              <c:dLblPos val="t"/>
              <c:showLegendKey val="0"/>
              <c:showVal val="1"/>
              <c:showCatName val="0"/>
              <c:showSerName val="0"/>
              <c:showPercent val="0"/>
              <c:showBubbleSize val="0"/>
            </c:dLbl>
            <c:dLbl>
              <c:idx val="3"/>
              <c:tx>
                <c:rich>
                  <a:bodyPr/>
                  <a:lstStyle/>
                  <a:p>
                    <a:r>
                      <a:t>3.3</a:t>
                    </a:r>
                  </a:p>
                </c:rich>
              </c:tx>
              <c:dLblPos val="t"/>
              <c:showLegendKey val="0"/>
              <c:showVal val="1"/>
              <c:showCatName val="0"/>
              <c:showSerName val="0"/>
              <c:showPercent val="0"/>
              <c:showBubbleSize val="0"/>
            </c:dLbl>
            <c:dLbl>
              <c:idx val="4"/>
              <c:tx>
                <c:rich>
                  <a:bodyPr/>
                  <a:lstStyle/>
                  <a:p>
                    <a:r>
                      <a:t>3.42</a:t>
                    </a:r>
                  </a:p>
                </c:rich>
              </c:tx>
              <c:dLblPos val="t"/>
              <c:showLegendKey val="0"/>
              <c:showVal val="1"/>
              <c:showCatName val="0"/>
              <c:showSerName val="0"/>
              <c:showPercent val="0"/>
              <c:showBubbleSize val="0"/>
            </c:dLbl>
            <c:dLbl>
              <c:idx val="5"/>
              <c:tx>
                <c:rich>
                  <a:bodyPr/>
                  <a:lstStyle/>
                  <a:p>
                    <a:r>
                      <a:t>3.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Fromage Frais Roule Jambon Fume &amp; Poivre Noir Boite 1X100Gr 20P</c:v>
                </c:pt>
                <c:pt idx="5">
                  <c:v>BEL BOURSIN APERITIF ROULES APERITIF APERITIF 1 CT X 100GR</c:v>
                </c:pt>
              </c:strCache>
            </c:strRef>
          </c:cat>
          <c:val>
            <c:numRef>
              <c:f>Sheet1!$B$2:$B$7</c:f>
              <c:numCache>
                <c:formatCode>General</c:formatCode>
                <c:ptCount val="6"/>
                <c:pt idx="0">
                  <c:v>3.54</c:v>
                </c:pt>
                <c:pt idx="1">
                  <c:v>3.55</c:v>
                </c:pt>
                <c:pt idx="2">
                  <c:v>3.59</c:v>
                </c:pt>
                <c:pt idx="3">
                  <c:v>3.3</c:v>
                </c:pt>
                <c:pt idx="4">
                  <c:v>3.42</c:v>
                </c:pt>
                <c:pt idx="5">
                  <c:v>3.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54</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dLbl>
              <c:idx val="3"/>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Boursin Aperitif Roules Fromage Frais Roule Jambon Fume &amp; Trio De Noix Boite 1X100Gr 20P</c:v>
                </c:pt>
              </c:strCache>
            </c:strRef>
          </c:cat>
          <c:val>
            <c:numRef>
              <c:f>Sheet1!$B$2:$B$5</c:f>
              <c:numCache>
                <c:formatCode>General</c:formatCode>
                <c:ptCount val="4"/>
                <c:pt idx="0">
                  <c:v>3.62</c:v>
                </c:pt>
                <c:pt idx="1">
                  <c:v>3.54</c:v>
                </c:pt>
                <c:pt idx="2">
                  <c:v>3.8</c:v>
                </c:pt>
                <c:pt idx="3">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6</a:t>
                    </a:r>
                  </a:p>
                </c:rich>
              </c:tx>
              <c:dLblPos val="t"/>
              <c:showLegendKey val="0"/>
              <c:showVal val="1"/>
              <c:showCatName val="0"/>
              <c:showSerName val="0"/>
              <c:showPercent val="0"/>
              <c:showBubbleSize val="0"/>
            </c:dLbl>
            <c:dLbl>
              <c:idx val="1"/>
              <c:tx>
                <c:rich>
                  <a:bodyPr/>
                  <a:lstStyle/>
                  <a:p>
                    <a:r>
                      <a:t>3.67</a:t>
                    </a:r>
                  </a:p>
                </c:rich>
              </c:tx>
              <c:dLblPos val="t"/>
              <c:showLegendKey val="0"/>
              <c:showVal val="1"/>
              <c:showCatName val="0"/>
              <c:showSerName val="0"/>
              <c:showPercent val="0"/>
              <c:showBubbleSize val="0"/>
            </c:dLbl>
            <c:dLbl>
              <c:idx val="2"/>
              <c:tx>
                <c:rich>
                  <a:bodyPr/>
                  <a:lstStyle/>
                  <a:p>
                    <a:r>
                      <a:t>3.68</a:t>
                    </a:r>
                  </a:p>
                </c:rich>
              </c:tx>
              <c:dLblPos val="t"/>
              <c:showLegendKey val="0"/>
              <c:showVal val="1"/>
              <c:showCatName val="0"/>
              <c:showSerName val="0"/>
              <c:showPercent val="0"/>
              <c:showBubbleSize val="0"/>
            </c:dLbl>
            <c:dLbl>
              <c:idx val="3"/>
              <c:tx>
                <c:rich>
                  <a:bodyPr/>
                  <a:lstStyle/>
                  <a:p>
                    <a:r>
                      <a:t>3.13</a:t>
                    </a:r>
                  </a:p>
                </c:rich>
              </c:tx>
              <c:dLblPos val="t"/>
              <c:showLegendKey val="0"/>
              <c:showVal val="1"/>
              <c:showCatName val="0"/>
              <c:showSerName val="0"/>
              <c:showPercent val="0"/>
              <c:showBubbleSize val="0"/>
            </c:dLbl>
            <c:dLbl>
              <c:idx val="4"/>
              <c:tx>
                <c:rich>
                  <a:bodyPr/>
                  <a:lstStyle/>
                  <a:p>
                    <a:r>
                      <a:t>3.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EL BOURSIN APERITIF ROULES APERITIF APERITIF 1 CT X 100GR</c:v>
                </c:pt>
              </c:strCache>
            </c:strRef>
          </c:cat>
          <c:val>
            <c:numRef>
              <c:f>Sheet1!$B$2:$B$6</c:f>
              <c:numCache>
                <c:formatCode>General</c:formatCode>
                <c:ptCount val="5"/>
                <c:pt idx="0">
                  <c:v>3.56</c:v>
                </c:pt>
                <c:pt idx="1">
                  <c:v>3.67</c:v>
                </c:pt>
                <c:pt idx="2">
                  <c:v>3.68</c:v>
                </c:pt>
                <c:pt idx="3">
                  <c:v>3.13</c:v>
                </c:pt>
                <c:pt idx="4">
                  <c:v>3.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3.03</a:t>
                    </a:r>
                  </a:p>
                </c:rich>
              </c:tx>
              <c:dLblPos val="t"/>
              <c:showLegendKey val="0"/>
              <c:showVal val="1"/>
              <c:showCatName val="0"/>
              <c:showSerName val="0"/>
              <c:showPercent val="0"/>
              <c:showBubbleSize val="0"/>
            </c:dLbl>
            <c:dLbl>
              <c:idx val="12"/>
              <c:tx>
                <c:rich>
                  <a:bodyPr/>
                  <a:lstStyle/>
                  <a:p>
                    <a:r>
                      <a:t>3.26</a:t>
                    </a:r>
                  </a:p>
                </c:rich>
              </c:tx>
              <c:dLblPos val="t"/>
              <c:showLegendKey val="0"/>
              <c:showVal val="1"/>
              <c:showCatName val="0"/>
              <c:showSerName val="0"/>
              <c:showPercent val="0"/>
              <c:showBubbleSize val="0"/>
            </c:dLbl>
            <c:dLbl>
              <c:idx val="13"/>
              <c:tx>
                <c:rich>
                  <a:bodyPr/>
                  <a:lstStyle/>
                  <a:p>
                    <a:r>
                      <a:t>4.37</a:t>
                    </a:r>
                  </a:p>
                </c:rich>
              </c:tx>
              <c:dLblPos val="t"/>
              <c:showLegendKey val="0"/>
              <c:showVal val="1"/>
              <c:showCatName val="0"/>
              <c:showSerName val="0"/>
              <c:showPercent val="0"/>
              <c:showBubbleSize val="0"/>
            </c:dLbl>
            <c:dLbl>
              <c:idx val="14"/>
              <c:tx>
                <c:rich>
                  <a:bodyPr/>
                  <a:lstStyle/>
                  <a:p>
                    <a:r>
                      <a:t>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Boursin Classique Fromage Frais A Tartiner Afh Boite 1X150Gr 1P</c:v>
                </c:pt>
                <c:pt idx="11">
                  <c:v>La Vache Qui Rit Nature Fromage Fondu Boite Ronde 1X256Gr 16P</c:v>
                </c:pt>
                <c:pt idx="12">
                  <c:v>Mini Babybel Rouge Filet St Paulin Ferme 1X180Gr 9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2.27</c:v>
                </c:pt>
                <c:pt idx="11">
                  <c:v>3.03</c:v>
                </c:pt>
                <c:pt idx="12">
                  <c:v>3.26</c:v>
                </c:pt>
                <c:pt idx="13">
                  <c:v>4.37</c:v>
                </c:pt>
                <c:pt idx="14">
                  <c:v>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02</a:t>
                    </a:r>
                  </a:p>
                </c:rich>
              </c:tx>
              <c:dLblPos val="t"/>
              <c:showLegendKey val="0"/>
              <c:showVal val="1"/>
              <c:showCatName val="0"/>
              <c:showSerName val="0"/>
              <c:showPercent val="0"/>
              <c:showBubbleSize val="0"/>
            </c:dLbl>
            <c:dLbl>
              <c:idx val="12"/>
              <c:tx>
                <c:rich>
                  <a:bodyPr/>
                  <a:lstStyle/>
                  <a:p>
                    <a:r>
                      <a:t>2.65</a:t>
                    </a:r>
                  </a:p>
                </c:rich>
              </c:tx>
              <c:dLblPos val="t"/>
              <c:showLegendKey val="0"/>
              <c:showVal val="1"/>
              <c:showCatName val="0"/>
              <c:showSerName val="0"/>
              <c:showPercent val="0"/>
              <c:showBubbleSize val="0"/>
            </c:dLbl>
            <c:dLbl>
              <c:idx val="13"/>
              <c:tx>
                <c:rich>
                  <a:bodyPr/>
                  <a:lstStyle/>
                  <a:p>
                    <a:r>
                      <a:t>4.56</a:t>
                    </a:r>
                  </a:p>
                </c:rich>
              </c:tx>
              <c:dLblPos val="t"/>
              <c:showLegendKey val="0"/>
              <c:showVal val="1"/>
              <c:showCatName val="0"/>
              <c:showSerName val="0"/>
              <c:showPercent val="0"/>
              <c:showBubbleSize val="0"/>
            </c:dLbl>
            <c:dLbl>
              <c:idx val="14"/>
              <c:tx>
                <c:rich>
                  <a:bodyPr/>
                  <a:lstStyle/>
                  <a:p>
                    <a:r>
                      <a:t>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Boursin Classique Fromage Frais A Tartiner Afh Boite 1X150Gr 1P</c:v>
                </c:pt>
                <c:pt idx="11">
                  <c:v>Kiri Creme Fromage Blanc Frais Carre 1X216Gr 12P</c:v>
                </c:pt>
                <c:pt idx="12">
                  <c:v>Boursin Classique Fromage Frais A Tartiner Afh 1X160Gr 10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2.43</c:v>
                </c:pt>
                <c:pt idx="11">
                  <c:v>3.02</c:v>
                </c:pt>
                <c:pt idx="12">
                  <c:v>2.65</c:v>
                </c:pt>
                <c:pt idx="13">
                  <c:v>4.56</c:v>
                </c:pt>
                <c:pt idx="14">
                  <c:v>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3.53</a:t>
                    </a:r>
                  </a:p>
                </c:rich>
              </c:tx>
              <c:dLblPos val="t"/>
              <c:showLegendKey val="0"/>
              <c:showVal val="1"/>
              <c:showCatName val="0"/>
              <c:showSerName val="0"/>
              <c:showPercent val="0"/>
              <c:showBubbleSize val="0"/>
            </c:dLbl>
            <c:dLbl>
              <c:idx val="9"/>
              <c:tx>
                <c:rich>
                  <a:bodyPr/>
                  <a:lstStyle/>
                  <a:p>
                    <a:r>
                      <a:t>2.51</a:t>
                    </a:r>
                  </a:p>
                </c:rich>
              </c:tx>
              <c:dLblPos val="t"/>
              <c:showLegendKey val="0"/>
              <c:showVal val="1"/>
              <c:showCatName val="0"/>
              <c:showSerName val="0"/>
              <c:showPercent val="0"/>
              <c:showBubbleSize val="0"/>
            </c:dLbl>
            <c:dLbl>
              <c:idx val="10"/>
              <c:tx>
                <c:rich>
                  <a:bodyPr/>
                  <a:lstStyle/>
                  <a:p>
                    <a:r>
                      <a:t>2.21</a:t>
                    </a:r>
                  </a:p>
                </c:rich>
              </c:tx>
              <c:dLblPos val="t"/>
              <c:showLegendKey val="0"/>
              <c:showVal val="1"/>
              <c:showCatName val="0"/>
              <c:showSerName val="0"/>
              <c:showPercent val="0"/>
              <c:showBubbleSize val="0"/>
            </c:dLbl>
            <c:dLbl>
              <c:idx val="11"/>
              <c:tx>
                <c:rich>
                  <a:bodyPr/>
                  <a:lstStyle/>
                  <a:p>
                    <a:r>
                      <a:t>2.42</a:t>
                    </a:r>
                  </a:p>
                </c:rich>
              </c:tx>
              <c:dLblPos val="t"/>
              <c:showLegendKey val="0"/>
              <c:showVal val="1"/>
              <c:showCatName val="0"/>
              <c:showSerName val="0"/>
              <c:showPercent val="0"/>
              <c:showBubbleSize val="0"/>
            </c:dLbl>
            <c:dLbl>
              <c:idx val="12"/>
              <c:tx>
                <c:rich>
                  <a:bodyPr/>
                  <a:lstStyle/>
                  <a:p>
                    <a:r>
                      <a:t>4.32</a:t>
                    </a:r>
                  </a:p>
                </c:rich>
              </c:tx>
              <c:dLblPos val="t"/>
              <c:showLegendKey val="0"/>
              <c:showVal val="1"/>
              <c:showCatName val="0"/>
              <c:showSerName val="0"/>
              <c:showPercent val="0"/>
              <c:showBubbleSize val="0"/>
            </c:dLbl>
            <c:dLbl>
              <c:idx val="13"/>
              <c:tx>
                <c:rich>
                  <a:bodyPr/>
                  <a:lstStyle/>
                  <a:p>
                    <a:r>
                      <a:t>4.49</a:t>
                    </a:r>
                  </a:p>
                </c:rich>
              </c:tx>
              <c:dLblPos val="t"/>
              <c:showLegendKey val="0"/>
              <c:showVal val="1"/>
              <c:showCatName val="0"/>
              <c:showSerName val="0"/>
              <c:showPercent val="0"/>
              <c:showBubbleSize val="0"/>
            </c:dLbl>
            <c:dLbl>
              <c:idx val="14"/>
              <c:tx>
                <c:rich>
                  <a:bodyPr/>
                  <a:lstStyle/>
                  <a:p>
                    <a:r>
                      <a:t>4.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3.53</c:v>
                </c:pt>
                <c:pt idx="9">
                  <c:v>2.51</c:v>
                </c:pt>
                <c:pt idx="10">
                  <c:v>2.21</c:v>
                </c:pt>
                <c:pt idx="11">
                  <c:v>2.42</c:v>
                </c:pt>
                <c:pt idx="12">
                  <c:v>4.32</c:v>
                </c:pt>
                <c:pt idx="13">
                  <c:v>4.49</c:v>
                </c:pt>
                <c:pt idx="14">
                  <c:v>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24</a:t>
                    </a:r>
                  </a:p>
                </c:rich>
              </c:tx>
              <c:dLblPos val="t"/>
              <c:showLegendKey val="0"/>
              <c:showVal val="1"/>
              <c:showCatName val="0"/>
              <c:showSerName val="0"/>
              <c:showPercent val="0"/>
              <c:showBubbleSize val="0"/>
            </c:dLbl>
            <c:dLbl>
              <c:idx val="9"/>
              <c:tx>
                <c:rich>
                  <a:bodyPr/>
                  <a:lstStyle/>
                  <a:p>
                    <a:r>
                      <a:t>2.5</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27</a:t>
                    </a:r>
                  </a:p>
                </c:rich>
              </c:tx>
              <c:dLblPos val="t"/>
              <c:showLegendKey val="0"/>
              <c:showVal val="1"/>
              <c:showCatName val="0"/>
              <c:showSerName val="0"/>
              <c:showPercent val="0"/>
              <c:showBubbleSize val="0"/>
            </c:dLbl>
            <c:dLbl>
              <c:idx val="12"/>
              <c:tx>
                <c:rich>
                  <a:bodyPr/>
                  <a:lstStyle/>
                  <a:p>
                    <a:r>
                      <a:t>4.33</a:t>
                    </a:r>
                  </a:p>
                </c:rich>
              </c:tx>
              <c:dLblPos val="t"/>
              <c:showLegendKey val="0"/>
              <c:showVal val="1"/>
              <c:showCatName val="0"/>
              <c:showSerName val="0"/>
              <c:showPercent val="0"/>
              <c:showBubbleSize val="0"/>
            </c:dLbl>
            <c:dLbl>
              <c:idx val="13"/>
              <c:tx>
                <c:rich>
                  <a:bodyPr/>
                  <a:lstStyle/>
                  <a:p>
                    <a:r>
                      <a:t>4.34</a:t>
                    </a:r>
                  </a:p>
                </c:rich>
              </c:tx>
              <c:dLblPos val="t"/>
              <c:showLegendKey val="0"/>
              <c:showVal val="1"/>
              <c:showCatName val="0"/>
              <c:showSerName val="0"/>
              <c:showPercent val="0"/>
              <c:showBubbleSize val="0"/>
            </c:dLbl>
            <c:dLbl>
              <c:idx val="14"/>
              <c:tx>
                <c:rich>
                  <a:bodyPr/>
                  <a:lstStyle/>
                  <a:p>
                    <a:r>
                      <a:t>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Boursin Classique Fromage Frais A Tartiner Afh Boite 1X150Gr 1P</c:v>
                </c:pt>
                <c:pt idx="9">
                  <c:v>Boursin Classique Fromage Frais A Tartiner Afh 1X160Gr 10P</c:v>
                </c:pt>
                <c:pt idx="10">
                  <c:v>Kiri Gouter Fromage Blanc Dips Boite 1X175Gr 5P</c:v>
                </c:pt>
                <c:pt idx="11">
                  <c:v>Mini Babybel Rouge Filet St Paulin Ferme 1X180Gr 9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24</c:v>
                </c:pt>
                <c:pt idx="9">
                  <c:v>2.5</c:v>
                </c:pt>
                <c:pt idx="10">
                  <c:v>2.43</c:v>
                </c:pt>
                <c:pt idx="11">
                  <c:v>3.27</c:v>
                </c:pt>
                <c:pt idx="12">
                  <c:v>4.33</c:v>
                </c:pt>
                <c:pt idx="13">
                  <c:v>4.34</c:v>
                </c:pt>
                <c:pt idx="14">
                  <c:v>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36</a:t>
                    </a:r>
                  </a:p>
                </c:rich>
              </c:tx>
              <c:dLblPos val="t"/>
              <c:showLegendKey val="0"/>
              <c:showVal val="1"/>
              <c:showCatName val="0"/>
              <c:showSerName val="0"/>
              <c:showPercent val="0"/>
              <c:showBubbleSize val="0"/>
            </c:dLbl>
            <c:dLbl>
              <c:idx val="9"/>
              <c:tx>
                <c:rich>
                  <a:bodyPr/>
                  <a:lstStyle/>
                  <a:p>
                    <a:r>
                      <a:t>2.6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4.57</a:t>
                    </a:r>
                  </a:p>
                </c:rich>
              </c:tx>
              <c:dLblPos val="t"/>
              <c:showLegendKey val="0"/>
              <c:showVal val="1"/>
              <c:showCatName val="0"/>
              <c:showSerName val="0"/>
              <c:showPercent val="0"/>
              <c:showBubbleSize val="0"/>
            </c:dLbl>
            <c:dLbl>
              <c:idx val="12"/>
              <c:tx>
                <c:rich>
                  <a:bodyPr/>
                  <a:lstStyle/>
                  <a:p>
                    <a:r>
                      <a:t>4.51</a:t>
                    </a:r>
                  </a:p>
                </c:rich>
              </c:tx>
              <c:dLblPos val="t"/>
              <c:showLegendKey val="0"/>
              <c:showVal val="1"/>
              <c:showCatName val="0"/>
              <c:showSerName val="0"/>
              <c:showPercent val="0"/>
              <c:showBubbleSize val="0"/>
            </c:dLbl>
            <c:dLbl>
              <c:idx val="13"/>
              <c:tx>
                <c:rich>
                  <a:bodyPr/>
                  <a:lstStyle/>
                  <a:p>
                    <a:r>
                      <a:t>4.73</a:t>
                    </a:r>
                  </a:p>
                </c:rich>
              </c:tx>
              <c:dLblPos val="t"/>
              <c:showLegendKey val="0"/>
              <c:showVal val="1"/>
              <c:showCatName val="0"/>
              <c:showSerName val="0"/>
              <c:showPercent val="0"/>
              <c:showBubbleSize val="0"/>
            </c:dLbl>
            <c:dLbl>
              <c:idx val="14"/>
              <c:tx>
                <c:rich>
                  <a:bodyPr/>
                  <a:lstStyle/>
                  <a:p>
                    <a:r>
                      <a:t>3.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Apericube Edition Limitee Best Of Foot Fromage Fondu Cube Assortis 1X250Gr 48P</c:v>
                </c:pt>
                <c:pt idx="12">
                  <c:v>Apericube Cocktail Fromage Fondu Cube Assortis 1X250Gr 48P</c:v>
                </c:pt>
                <c:pt idx="13">
                  <c:v>Apericube Long Drink Fromage Fondu Cube Assortis 1X250Gr 48P</c:v>
                </c:pt>
                <c:pt idx="14">
                  <c:v>Boursin Aperitif Roules Fromage Frais Roule Afh Et Jambon Fume Boite 1X100Gr 20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36</c:v>
                </c:pt>
                <c:pt idx="9">
                  <c:v>2.62</c:v>
                </c:pt>
                <c:pt idx="10">
                  <c:v>2.55</c:v>
                </c:pt>
                <c:pt idx="11">
                  <c:v>4.57</c:v>
                </c:pt>
                <c:pt idx="12">
                  <c:v>4.51</c:v>
                </c:pt>
                <c:pt idx="13">
                  <c:v>4.73</c:v>
                </c:pt>
                <c:pt idx="14">
                  <c:v>3.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45</a:t>
                    </a:r>
                  </a:p>
                </c:rich>
              </c:tx>
              <c:dLblPos val="t"/>
              <c:showLegendKey val="0"/>
              <c:showVal val="1"/>
              <c:showCatName val="0"/>
              <c:showSerName val="0"/>
              <c:showPercent val="0"/>
              <c:showBubbleSize val="0"/>
            </c:dLbl>
            <c:dLbl>
              <c:idx val="8"/>
              <c:tx>
                <c:rich>
                  <a:bodyPr/>
                  <a:lstStyle/>
                  <a:p>
                    <a:r>
                      <a:t>2.49</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2.29</a:t>
                    </a:r>
                  </a:p>
                </c:rich>
              </c:tx>
              <c:dLblPos val="t"/>
              <c:showLegendKey val="0"/>
              <c:showVal val="1"/>
              <c:showCatName val="0"/>
              <c:showSerName val="0"/>
              <c:showPercent val="0"/>
              <c:showBubbleSize val="0"/>
            </c:dLbl>
            <c:dLbl>
              <c:idx val="12"/>
              <c:tx>
                <c:rich>
                  <a:bodyPr/>
                  <a:lstStyle/>
                  <a:p>
                    <a:r>
                      <a:t>4.28</a:t>
                    </a:r>
                  </a:p>
                </c:rich>
              </c:tx>
              <c:dLblPos val="t"/>
              <c:showLegendKey val="0"/>
              <c:showVal val="1"/>
              <c:showCatName val="0"/>
              <c:showSerName val="0"/>
              <c:showPercent val="0"/>
              <c:showBubbleSize val="0"/>
            </c:dLbl>
            <c:dLbl>
              <c:idx val="13"/>
              <c:tx>
                <c:rich>
                  <a:bodyPr/>
                  <a:lstStyle/>
                  <a:p>
                    <a:r>
                      <a:t>4.43</a:t>
                    </a:r>
                  </a:p>
                </c:rich>
              </c:tx>
              <c:dLblPos val="t"/>
              <c:showLegendKey val="0"/>
              <c:showVal val="1"/>
              <c:showCatName val="0"/>
              <c:showSerName val="0"/>
              <c:showPercent val="0"/>
              <c:showBubbleSize val="0"/>
            </c:dLbl>
            <c:dLbl>
              <c:idx val="14"/>
              <c:tx>
                <c:rich>
                  <a:bodyPr/>
                  <a:lstStyle/>
                  <a:p>
                    <a:r>
                      <a:t>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1</c:v>
                </c:pt>
                <c:pt idx="1">
                  <c:v>4.87</c:v>
                </c:pt>
                <c:pt idx="2">
                  <c:v>2.53</c:v>
                </c:pt>
                <c:pt idx="3">
                  <c:v>2.5</c:v>
                </c:pt>
                <c:pt idx="4">
                  <c:v>4.05</c:v>
                </c:pt>
                <c:pt idx="5">
                  <c:v>3.04</c:v>
                </c:pt>
                <c:pt idx="6">
                  <c:v>5.39</c:v>
                </c:pt>
                <c:pt idx="7">
                  <c:v>3.45</c:v>
                </c:pt>
                <c:pt idx="8">
                  <c:v>2.49</c:v>
                </c:pt>
                <c:pt idx="9">
                  <c:v>3.67</c:v>
                </c:pt>
                <c:pt idx="10">
                  <c:v>2.27</c:v>
                </c:pt>
                <c:pt idx="11">
                  <c:v>2.29</c:v>
                </c:pt>
                <c:pt idx="12">
                  <c:v>4.28</c:v>
                </c:pt>
                <c:pt idx="13">
                  <c:v>4.43</c:v>
                </c:pt>
                <c:pt idx="14">
                  <c:v>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3.03</a:t>
                    </a:r>
                  </a:p>
                </c:rich>
              </c:tx>
              <c:dLblPos val="t"/>
              <c:showLegendKey val="0"/>
              <c:showVal val="1"/>
              <c:showCatName val="0"/>
              <c:showSerName val="0"/>
              <c:showPercent val="0"/>
              <c:showBubbleSize val="0"/>
            </c:dLbl>
            <c:dLbl>
              <c:idx val="11"/>
              <c:tx>
                <c:rich>
                  <a:bodyPr/>
                  <a:lstStyle/>
                  <a:p>
                    <a:r>
                      <a:t>3.26</a:t>
                    </a:r>
                  </a:p>
                </c:rich>
              </c:tx>
              <c:dLblPos val="t"/>
              <c:showLegendKey val="0"/>
              <c:showVal val="1"/>
              <c:showCatName val="0"/>
              <c:showSerName val="0"/>
              <c:showPercent val="0"/>
              <c:showBubbleSize val="0"/>
            </c:dLbl>
            <c:dLbl>
              <c:idx val="12"/>
              <c:tx>
                <c:rich>
                  <a:bodyPr/>
                  <a:lstStyle/>
                  <a:p>
                    <a:r>
                      <a:t>5.9</a:t>
                    </a:r>
                  </a:p>
                </c:rich>
              </c:tx>
              <c:dLblPos val="t"/>
              <c:showLegendKey val="0"/>
              <c:showVal val="1"/>
              <c:showCatName val="0"/>
              <c:showSerName val="0"/>
              <c:showPercent val="0"/>
              <c:showBubbleSize val="0"/>
            </c:dLbl>
            <c:dLbl>
              <c:idx val="13"/>
              <c:tx>
                <c:rich>
                  <a:bodyPr/>
                  <a:lstStyle/>
                  <a:p>
                    <a:r>
                      <a:t>2.27</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La Vache Qui Rit Nature Fromage Fondu Boite Ronde 1X256Gr 16P</c:v>
                </c:pt>
                <c:pt idx="11">
                  <c:v>Mini Babybel Rouge Filet St Paulin Ferme 1X180Gr 9P</c:v>
                </c:pt>
                <c:pt idx="12">
                  <c:v>BEL MINI BABYBEL ROUGE FILET SOFT CHEESE ENFANT 1 CT X 352GR</c:v>
                </c:pt>
                <c:pt idx="13">
                  <c:v>Boursin Classique Fromage Frais A Tartiner Afh Boite 1X150Gr 1P</c:v>
                </c:pt>
                <c:pt idx="14">
                  <c:v>Boursin Classique Fromage Frais A Tartiner Afh 1X160Gr 10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3.03</c:v>
                </c:pt>
                <c:pt idx="11">
                  <c:v>3.26</c:v>
                </c:pt>
                <c:pt idx="12">
                  <c:v>5.9</c:v>
                </c:pt>
                <c:pt idx="13">
                  <c:v>2.27</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3.02</a:t>
                    </a:r>
                  </a:p>
                </c:rich>
              </c:tx>
              <c:dLblPos val="t"/>
              <c:showLegendKey val="0"/>
              <c:showVal val="1"/>
              <c:showCatName val="0"/>
              <c:showSerName val="0"/>
              <c:showPercent val="0"/>
              <c:showBubbleSize val="0"/>
            </c:dLbl>
            <c:dLbl>
              <c:idx val="11"/>
              <c:tx>
                <c:rich>
                  <a:bodyPr/>
                  <a:lstStyle/>
                  <a:p>
                    <a:r>
                      <a:t>3.94</a:t>
                    </a:r>
                  </a:p>
                </c:rich>
              </c:tx>
              <c:dLblPos val="t"/>
              <c:showLegendKey val="0"/>
              <c:showVal val="1"/>
              <c:showCatName val="0"/>
              <c:showSerName val="0"/>
              <c:showPercent val="0"/>
              <c:showBubbleSize val="0"/>
            </c:dLbl>
            <c:dLbl>
              <c:idx val="12"/>
              <c:tx>
                <c:rich>
                  <a:bodyPr/>
                  <a:lstStyle/>
                  <a:p>
                    <a:r>
                      <a:t>2.43</a:t>
                    </a:r>
                  </a:p>
                </c:rich>
              </c:tx>
              <c:dLblPos val="t"/>
              <c:showLegendKey val="0"/>
              <c:showVal val="1"/>
              <c:showCatName val="0"/>
              <c:showSerName val="0"/>
              <c:showPercent val="0"/>
              <c:showBubbleSize val="0"/>
            </c:dLbl>
            <c:dLbl>
              <c:idx val="13"/>
              <c:tx>
                <c:rich>
                  <a:bodyPr/>
                  <a:lstStyle/>
                  <a:p>
                    <a:r>
                      <a:t>2.65</a:t>
                    </a:r>
                  </a:p>
                </c:rich>
              </c:tx>
              <c:dLblPos val="t"/>
              <c:showLegendKey val="0"/>
              <c:showVal val="1"/>
              <c:showCatName val="0"/>
              <c:showSerName val="0"/>
              <c:showPercent val="0"/>
              <c:showBubbleSize val="0"/>
            </c:dLbl>
            <c:dLbl>
              <c:idx val="14"/>
              <c:tx>
                <c:rich>
                  <a:bodyPr/>
                  <a:lstStyle/>
                  <a:p>
                    <a:r>
                      <a:t>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Kiri Creme Fromage Blanc Frais Carre 1X216Gr 12P</c:v>
                </c:pt>
                <c:pt idx="11">
                  <c:v>La Vache Qui Rit Nature Fromage Fondu Boite Ronde 1X512Gr 24+8P</c:v>
                </c:pt>
                <c:pt idx="12">
                  <c:v>Boursin Classique Fromage Frais A Tartiner Afh Boite 1X150Gr 1P</c:v>
                </c:pt>
                <c:pt idx="13">
                  <c:v>Boursin Classique Fromage Frais A Tartiner Afh 1X160Gr 10P</c:v>
                </c:pt>
                <c:pt idx="14">
                  <c:v>Boursin Salade &amp; Aperitif Fromage Frais Des Afh 1X120Gr 1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3.02</c:v>
                </c:pt>
                <c:pt idx="11">
                  <c:v>3.94</c:v>
                </c:pt>
                <c:pt idx="12">
                  <c:v>2.43</c:v>
                </c:pt>
                <c:pt idx="13">
                  <c:v>2.65</c:v>
                </c:pt>
                <c:pt idx="14">
                  <c:v>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2.21</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3.53</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a:t>
                    </a:r>
                  </a:p>
                </c:rich>
              </c:tx>
              <c:dLblPos val="t"/>
              <c:showLegendKey val="0"/>
              <c:showVal val="1"/>
              <c:showCatName val="0"/>
              <c:showSerName val="0"/>
              <c:showPercent val="0"/>
              <c:showBubbleSize val="0"/>
            </c:dLbl>
            <c:dLbl>
              <c:idx val="14"/>
              <c:tx>
                <c:rich>
                  <a:bodyPr/>
                  <a:lstStyle/>
                  <a:p>
                    <a:r>
                      <a:t>2.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Boursin Classique Fromage Frais A Tartiner Afh Boite 1X250Gr 1P</c:v>
                </c:pt>
                <c:pt idx="12">
                  <c:v>Boursin Classique Fromage Frais A Tartiner Afh 1X160Gr 10P</c:v>
                </c:pt>
                <c:pt idx="13">
                  <c:v>Boursin Classique Fromage Frais A Tartiner Afh Boite 1X150Gr 1P</c:v>
                </c:pt>
                <c:pt idx="14">
                  <c:v>Boursin Salade &amp; Aperitif Fromage Frais Des Afh 1X120Gr 1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2.21</c:v>
                </c:pt>
                <c:pt idx="9">
                  <c:v>2.42</c:v>
                </c:pt>
                <c:pt idx="10">
                  <c:v>2.55</c:v>
                </c:pt>
                <c:pt idx="11">
                  <c:v>3.53</c:v>
                </c:pt>
                <c:pt idx="12">
                  <c:v>2.51</c:v>
                </c:pt>
                <c:pt idx="13">
                  <c:v>2.2</c:v>
                </c:pt>
                <c:pt idx="14">
                  <c:v>2.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dLblPos val="t"/>
              <c:showLegendKey val="0"/>
              <c:showVal val="1"/>
              <c:showCatName val="0"/>
              <c:showSerName val="0"/>
              <c:showPercent val="0"/>
              <c:showBubbleSize val="0"/>
            </c:dLbl>
            <c:dLbl>
              <c:idx val="1"/>
              <c:tx>
                <c:rich>
                  <a:bodyPr/>
                  <a:lstStyle/>
                  <a:p>
                    <a:r>
                      <a:t>4.39</a:t>
                    </a:r>
                  </a:p>
                </c:rich>
              </c:tx>
              <c:dLblPos val="t"/>
              <c:showLegendKey val="0"/>
              <c:showVal val="1"/>
              <c:showCatName val="0"/>
              <c:showSerName val="0"/>
              <c:showPercent val="0"/>
              <c:showBubbleSize val="0"/>
            </c:dLbl>
            <c:dLbl>
              <c:idx val="2"/>
              <c:tx>
                <c:rich>
                  <a:bodyPr/>
                  <a:lstStyle/>
                  <a:p>
                    <a:r>
                      <a:t>4.76</a:t>
                    </a:r>
                  </a:p>
                </c:rich>
              </c:tx>
              <c:dLblPos val="t"/>
              <c:showLegendKey val="0"/>
              <c:showVal val="1"/>
              <c:showCatName val="0"/>
              <c:showSerName val="0"/>
              <c:showPercent val="0"/>
              <c:showBubbleSize val="0"/>
            </c:dLbl>
            <c:dLbl>
              <c:idx val="3"/>
              <c:tx>
                <c:rich>
                  <a:bodyPr/>
                  <a:lstStyle/>
                  <a:p>
                    <a:r>
                      <a:t>4.41</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2.23</a:t>
                    </a:r>
                  </a:p>
                </c:rich>
              </c:tx>
              <c:dLblPos val="t"/>
              <c:showLegendKey val="0"/>
              <c:showVal val="1"/>
              <c:showCatName val="0"/>
              <c:showSerName val="0"/>
              <c:showPercent val="0"/>
              <c:showBubbleSize val="0"/>
            </c:dLbl>
            <c:dLbl>
              <c:idx val="6"/>
              <c:tx>
                <c:rich>
                  <a:bodyPr/>
                  <a:lstStyle/>
                  <a:p>
                    <a:r>
                      <a:t>2.53</a:t>
                    </a:r>
                  </a:p>
                </c:rich>
              </c:tx>
              <c:dLblPos val="t"/>
              <c:showLegendKey val="0"/>
              <c:showVal val="1"/>
              <c:showCatName val="0"/>
              <c:showSerName val="0"/>
              <c:showPercent val="0"/>
              <c:showBubbleSize val="0"/>
            </c:dLbl>
            <c:dLbl>
              <c:idx val="7"/>
              <c:tx>
                <c:rich>
                  <a:bodyPr/>
                  <a:lstStyle/>
                  <a:p>
                    <a:r>
                      <a:t>4.52</a:t>
                    </a:r>
                  </a:p>
                </c:rich>
              </c:tx>
              <c:dLblPos val="t"/>
              <c:showLegendKey val="0"/>
              <c:showVal val="1"/>
              <c:showCatName val="0"/>
              <c:showSerName val="0"/>
              <c:showPercent val="0"/>
              <c:showBubbleSize val="0"/>
            </c:dLbl>
            <c:dLbl>
              <c:idx val="8"/>
              <c:tx>
                <c:rich>
                  <a:bodyPr/>
                  <a:lstStyle/>
                  <a:p>
                    <a:r>
                      <a:t>4.69</a:t>
                    </a:r>
                  </a:p>
                </c:rich>
              </c:tx>
              <c:dLblPos val="t"/>
              <c:showLegendKey val="0"/>
              <c:showVal val="1"/>
              <c:showCatName val="0"/>
              <c:showSerName val="0"/>
              <c:showPercent val="0"/>
              <c:showBubbleSize val="0"/>
            </c:dLbl>
            <c:dLbl>
              <c:idx val="9"/>
              <c:tx>
                <c:rich>
                  <a:bodyPr/>
                  <a:lstStyle/>
                  <a:p>
                    <a:r>
                      <a:t>4.56</a:t>
                    </a:r>
                  </a:p>
                </c:rich>
              </c:tx>
              <c:dLblPos val="t"/>
              <c:showLegendKey val="0"/>
              <c:showVal val="1"/>
              <c:showCatName val="0"/>
              <c:showSerName val="0"/>
              <c:showPercent val="0"/>
              <c:showBubbleSize val="0"/>
            </c:dLbl>
            <c:dLbl>
              <c:idx val="10"/>
              <c:tx>
                <c:rich>
                  <a:bodyPr/>
                  <a:lstStyle/>
                  <a:p>
                    <a:r>
                      <a:t>4.51</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dLbl>
              <c:idx val="12"/>
              <c:tx>
                <c:rich>
                  <a:bodyPr/>
                  <a:lstStyle/>
                  <a:p>
                    <a:r>
                      <a:t>4.69</a:t>
                    </a:r>
                  </a:p>
                </c:rich>
              </c:tx>
              <c:dLblPos val="t"/>
              <c:showLegendKey val="0"/>
              <c:showVal val="1"/>
              <c:showCatName val="0"/>
              <c:showSerName val="0"/>
              <c:showPercent val="0"/>
              <c:showBubbleSize val="0"/>
            </c:dLbl>
            <c:dLbl>
              <c:idx val="13"/>
              <c:tx>
                <c:rich>
                  <a:bodyPr/>
                  <a:lstStyle/>
                  <a:p>
                    <a:r>
                      <a:t>4.72</a:t>
                    </a:r>
                  </a:p>
                </c:rich>
              </c:tx>
              <c:dLblPos val="t"/>
              <c:showLegendKey val="0"/>
              <c:showVal val="1"/>
              <c:showCatName val="0"/>
              <c:showSerName val="0"/>
              <c:showPercent val="0"/>
              <c:showBubbleSize val="0"/>
            </c:dLbl>
            <c:dLbl>
              <c:idx val="14"/>
              <c:tx>
                <c:rich>
                  <a:bodyPr/>
                  <a:lstStyle/>
                  <a:p>
                    <a:r>
                      <a:t>2.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Nature Fromage Fondu Cube 1X125Gr 24P</c:v>
                </c:pt>
                <c:pt idx="6">
                  <c:v>Apericube Campagne Fromage Fondu Cube Assortis 1X125Gr 24P</c:v>
                </c:pt>
                <c:pt idx="7">
                  <c:v>Apericube Incontournable Fromage Fondu Cube Assortis 1X250Gr 48P</c:v>
                </c:pt>
                <c:pt idx="8">
                  <c:v>BEL APERICUBE SOIREE MATCH APERITIF APERITIF 1 CT X 250GR</c:v>
                </c:pt>
                <c:pt idx="9">
                  <c:v>Apericube Edition Voyage Fromage Fondu Cube Assortis 1X250Gr 48P</c:v>
                </c:pt>
                <c:pt idx="10">
                  <c:v>Apericube Edition Limitee Saison Fromage Fondu Cube Assortis 1X250Gr 48P</c:v>
                </c:pt>
                <c:pt idx="11">
                  <c:v>Boursin Aperitif Roules Fromage Frais Roule Ciboulette &amp; Echalote Jambon Fume Boite 1X100Gr 20P</c:v>
                </c:pt>
                <c:pt idx="12">
                  <c:v>BEL APERICUBE HOT CHALENGE APERITIF APERITIF 1 CT X 250GR</c:v>
                </c:pt>
                <c:pt idx="13">
                  <c:v>BEL APERICUBE FROMAGES DU MONDE APERITIF APERITIF 1 CT X 250GR</c:v>
                </c:pt>
                <c:pt idx="14">
                  <c:v>Apericube Best Of Des Saveurs Fromage Fondu Cube Assortis 1X125Gr 24P</c:v>
                </c:pt>
              </c:strCache>
            </c:strRef>
          </c:cat>
          <c:val>
            <c:numRef>
              <c:f>Sheet1!$B$2:$B$16</c:f>
              <c:numCache>
                <c:formatCode>General</c:formatCode>
                <c:ptCount val="15"/>
                <c:pt idx="0">
                  <c:v>4.37</c:v>
                </c:pt>
                <c:pt idx="1">
                  <c:v>4.39</c:v>
                </c:pt>
                <c:pt idx="2">
                  <c:v>4.76</c:v>
                </c:pt>
                <c:pt idx="3">
                  <c:v>4.41</c:v>
                </c:pt>
                <c:pt idx="4">
                  <c:v>3.62</c:v>
                </c:pt>
                <c:pt idx="5">
                  <c:v>2.23</c:v>
                </c:pt>
                <c:pt idx="6">
                  <c:v>2.53</c:v>
                </c:pt>
                <c:pt idx="7">
                  <c:v>4.52</c:v>
                </c:pt>
                <c:pt idx="8">
                  <c:v>4.69</c:v>
                </c:pt>
                <c:pt idx="9">
                  <c:v>4.56</c:v>
                </c:pt>
                <c:pt idx="10">
                  <c:v>4.51</c:v>
                </c:pt>
                <c:pt idx="11">
                  <c:v>3.6</c:v>
                </c:pt>
                <c:pt idx="12">
                  <c:v>4.69</c:v>
                </c:pt>
                <c:pt idx="13">
                  <c:v>4.72</c:v>
                </c:pt>
                <c:pt idx="14">
                  <c:v>2.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6</a:t>
                    </a:r>
                  </a:p>
                </c:rich>
              </c:tx>
              <c:dLblPos val="t"/>
              <c:showLegendKey val="0"/>
              <c:showVal val="1"/>
              <c:showCatName val="0"/>
              <c:showSerName val="0"/>
              <c:showPercent val="0"/>
              <c:showBubbleSize val="0"/>
            </c:dLbl>
            <c:dLbl>
              <c:idx val="4"/>
              <c:tx>
                <c:rich>
                  <a:bodyPr/>
                  <a:lstStyle/>
                  <a:p>
                    <a:r>
                      <a:t>4.46</a:t>
                    </a:r>
                  </a:p>
                </c:rich>
              </c:tx>
              <c:dLblPos val="t"/>
              <c:showLegendKey val="0"/>
              <c:showVal val="1"/>
              <c:showCatName val="0"/>
              <c:showSerName val="0"/>
              <c:showPercent val="0"/>
              <c:showBubbleSize val="0"/>
            </c:dLbl>
            <c:dLbl>
              <c:idx val="5"/>
              <c:tx>
                <c:rich>
                  <a:bodyPr/>
                  <a:lstStyle/>
                  <a:p>
                    <a:r>
                      <a:t>2.17</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4.41</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55</a:t>
                    </a:r>
                  </a:p>
                </c:rich>
              </c:tx>
              <c:dLblPos val="t"/>
              <c:showLegendKey val="0"/>
              <c:showVal val="1"/>
              <c:showCatName val="0"/>
              <c:showSerName val="0"/>
              <c:showPercent val="0"/>
              <c:showBubbleSize val="0"/>
            </c:dLbl>
            <c:dLbl>
              <c:idx val="10"/>
              <c:tx>
                <c:rich>
                  <a:bodyPr/>
                  <a:lstStyle/>
                  <a:p>
                    <a:r>
                      <a:t>4.42</a:t>
                    </a:r>
                  </a:p>
                </c:rich>
              </c:tx>
              <c:dLblPos val="t"/>
              <c:showLegendKey val="0"/>
              <c:showVal val="1"/>
              <c:showCatName val="0"/>
              <c:showSerName val="0"/>
              <c:showPercent val="0"/>
              <c:showBubbleSize val="0"/>
            </c:dLbl>
            <c:dLbl>
              <c:idx val="11"/>
              <c:tx>
                <c:rich>
                  <a:bodyPr/>
                  <a:lstStyle/>
                  <a:p>
                    <a:r>
                      <a:t>4.36</a:t>
                    </a:r>
                  </a:p>
                </c:rich>
              </c:tx>
              <c:dLblPos val="t"/>
              <c:showLegendKey val="0"/>
              <c:showVal val="1"/>
              <c:showCatName val="0"/>
              <c:showSerName val="0"/>
              <c:showPercent val="0"/>
              <c:showBubbleSize val="0"/>
            </c:dLbl>
            <c:dLbl>
              <c:idx val="12"/>
              <c:tx>
                <c:rich>
                  <a:bodyPr/>
                  <a:lstStyle/>
                  <a:p>
                    <a:r>
                      <a:t>2.59</a:t>
                    </a:r>
                  </a:p>
                </c:rich>
              </c:tx>
              <c:dLblPos val="t"/>
              <c:showLegendKey val="0"/>
              <c:showVal val="1"/>
              <c:showCatName val="0"/>
              <c:showSerName val="0"/>
              <c:showPercent val="0"/>
              <c:showBubbleSize val="0"/>
            </c:dLbl>
            <c:dLbl>
              <c:idx val="13"/>
              <c:tx>
                <c:rich>
                  <a:bodyPr/>
                  <a:lstStyle/>
                  <a:p>
                    <a:r>
                      <a:t>4.04</a:t>
                    </a:r>
                  </a:p>
                </c:rich>
              </c:tx>
              <c:dLblPos val="t"/>
              <c:showLegendKey val="0"/>
              <c:showVal val="1"/>
              <c:showCatName val="0"/>
              <c:showSerName val="0"/>
              <c:showPercent val="0"/>
              <c:showBubbleSize val="0"/>
            </c:dLbl>
            <c:dLbl>
              <c:idx val="14"/>
              <c:tx>
                <c:rich>
                  <a:bodyPr/>
                  <a:lstStyle/>
                  <a:p>
                    <a:r>
                      <a:t>4.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BEL APERICUBE SOIREE MATCH APERITIF APERITIF 1 CT X 250GR</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BEL APERICUBE HOT CHALENGE APERITIF APERITIF 1 CT X 250GR</c:v>
                </c:pt>
              </c:strCache>
            </c:strRef>
          </c:cat>
          <c:val>
            <c:numRef>
              <c:f>Sheet1!$B$2:$B$16</c:f>
              <c:numCache>
                <c:formatCode>General</c:formatCode>
                <c:ptCount val="15"/>
                <c:pt idx="0">
                  <c:v>4.56</c:v>
                </c:pt>
                <c:pt idx="1">
                  <c:v>4.51</c:v>
                </c:pt>
                <c:pt idx="2">
                  <c:v>4.73</c:v>
                </c:pt>
                <c:pt idx="3">
                  <c:v>3.66</c:v>
                </c:pt>
                <c:pt idx="4">
                  <c:v>4.46</c:v>
                </c:pt>
                <c:pt idx="5">
                  <c:v>2.17</c:v>
                </c:pt>
                <c:pt idx="6">
                  <c:v>4.66</c:v>
                </c:pt>
                <c:pt idx="7">
                  <c:v>4.41</c:v>
                </c:pt>
                <c:pt idx="8">
                  <c:v>2.46</c:v>
                </c:pt>
                <c:pt idx="9">
                  <c:v>3.55</c:v>
                </c:pt>
                <c:pt idx="10">
                  <c:v>4.42</c:v>
                </c:pt>
                <c:pt idx="11">
                  <c:v>4.36</c:v>
                </c:pt>
                <c:pt idx="12">
                  <c:v>2.59</c:v>
                </c:pt>
                <c:pt idx="13">
                  <c:v>4.04</c:v>
                </c:pt>
                <c:pt idx="14">
                  <c:v>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dLblPos val="t"/>
              <c:showLegendKey val="0"/>
              <c:showVal val="1"/>
              <c:showCatName val="0"/>
              <c:showSerName val="0"/>
              <c:showPercent val="0"/>
              <c:showBubbleSize val="0"/>
            </c:dLbl>
            <c:dLbl>
              <c:idx val="1"/>
              <c:tx>
                <c:rich>
                  <a:bodyPr/>
                  <a:lstStyle/>
                  <a:p>
                    <a:r>
                      <a:t>4.49</a:t>
                    </a:r>
                  </a:p>
                </c:rich>
              </c:tx>
              <c:dLblPos val="t"/>
              <c:showLegendKey val="0"/>
              <c:showVal val="1"/>
              <c:showCatName val="0"/>
              <c:showSerName val="0"/>
              <c:showPercent val="0"/>
              <c:showBubbleSize val="0"/>
            </c:dLbl>
            <c:dLbl>
              <c:idx val="2"/>
              <c:tx>
                <c:rich>
                  <a:bodyPr/>
                  <a:lstStyle/>
                  <a:p>
                    <a:r>
                      <a:t>4.94</a:t>
                    </a:r>
                  </a:p>
                </c:rich>
              </c:tx>
              <c:dLblPos val="t"/>
              <c:showLegendKey val="0"/>
              <c:showVal val="1"/>
              <c:showCatName val="0"/>
              <c:showSerName val="0"/>
              <c:showPercent val="0"/>
              <c:showBubbleSize val="0"/>
            </c:dLbl>
            <c:dLbl>
              <c:idx val="3"/>
              <c:tx>
                <c:rich>
                  <a:bodyPr/>
                  <a:lstStyle/>
                  <a:p>
                    <a:r>
                      <a:t>4.53</a:t>
                    </a:r>
                  </a:p>
                </c:rich>
              </c:tx>
              <c:dLblPos val="t"/>
              <c:showLegendKey val="0"/>
              <c:showVal val="1"/>
              <c:showCatName val="0"/>
              <c:showSerName val="0"/>
              <c:showPercent val="0"/>
              <c:showBubbleSize val="0"/>
            </c:dLbl>
            <c:dLbl>
              <c:idx val="4"/>
              <c:tx>
                <c:rich>
                  <a:bodyPr/>
                  <a:lstStyle/>
                  <a:p>
                    <a:r>
                      <a:t>3.67</a:t>
                    </a:r>
                  </a:p>
                </c:rich>
              </c:tx>
              <c:dLblPos val="t"/>
              <c:showLegendKey val="0"/>
              <c:showVal val="1"/>
              <c:showCatName val="0"/>
              <c:showSerName val="0"/>
              <c:showPercent val="0"/>
              <c:showBubbleSize val="0"/>
            </c:dLbl>
            <c:dLbl>
              <c:idx val="5"/>
              <c:tx>
                <c:rich>
                  <a:bodyPr/>
                  <a:lstStyle/>
                  <a:p>
                    <a:r>
                      <a:t>4.71</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6</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76</a:t>
                    </a:r>
                  </a:p>
                </c:rich>
              </c:tx>
              <c:dLblPos val="t"/>
              <c:showLegendKey val="0"/>
              <c:showVal val="1"/>
              <c:showCatName val="0"/>
              <c:showSerName val="0"/>
              <c:showPercent val="0"/>
              <c:showBubbleSize val="0"/>
            </c:dLbl>
            <c:dLbl>
              <c:idx val="10"/>
              <c:tx>
                <c:rich>
                  <a:bodyPr/>
                  <a:lstStyle/>
                  <a:p>
                    <a:r>
                      <a:t>4.73</a:t>
                    </a:r>
                  </a:p>
                </c:rich>
              </c:tx>
              <c:dLblPos val="t"/>
              <c:showLegendKey val="0"/>
              <c:showVal val="1"/>
              <c:showCatName val="0"/>
              <c:showSerName val="0"/>
              <c:showPercent val="0"/>
              <c:showBubbleSize val="0"/>
            </c:dLbl>
            <c:dLbl>
              <c:idx val="11"/>
              <c:tx>
                <c:rich>
                  <a:bodyPr/>
                  <a:lstStyle/>
                  <a:p>
                    <a:r>
                      <a:t>4.78</a:t>
                    </a:r>
                  </a:p>
                </c:rich>
              </c:tx>
              <c:dLblPos val="t"/>
              <c:showLegendKey val="0"/>
              <c:showVal val="1"/>
              <c:showCatName val="0"/>
              <c:showSerName val="0"/>
              <c:showPercent val="0"/>
              <c:showBubbleSize val="0"/>
            </c:dLbl>
            <c:dLbl>
              <c:idx val="12"/>
              <c:tx>
                <c:rich>
                  <a:bodyPr/>
                  <a:lstStyle/>
                  <a:p>
                    <a:r>
                      <a:t>3.77</a:t>
                    </a:r>
                  </a:p>
                </c:rich>
              </c:tx>
              <c:dLblPos val="t"/>
              <c:showLegendKey val="0"/>
              <c:showVal val="1"/>
              <c:showCatName val="0"/>
              <c:showSerName val="0"/>
              <c:showPercent val="0"/>
              <c:showBubbleSize val="0"/>
            </c:dLbl>
            <c:dLbl>
              <c:idx val="13"/>
              <c:tx>
                <c:rich>
                  <a:bodyPr/>
                  <a:lstStyle/>
                  <a:p>
                    <a:r>
                      <a:t>4.79</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BEL APERICUBE SOIREE MATCH APERITIF APERITIF 1 CT X 250GR</c:v>
                </c:pt>
                <c:pt idx="12">
                  <c:v>Boursin Aperitif Roules Fromage Frais Roule Basilic &amp; Jambon Fume Tomate Boite 1X100Gr 20P</c:v>
                </c:pt>
                <c:pt idx="13">
                  <c:v>BEL APERICUBE HOT CHALENGE APERITIF APERITIF 1 CT X 250GR</c:v>
                </c:pt>
                <c:pt idx="14">
                  <c:v>BEL APERICUBE FROMAGES DU MONDE APERITIF APERITIF 1 CT X 250GR</c:v>
                </c:pt>
              </c:strCache>
            </c:strRef>
          </c:cat>
          <c:val>
            <c:numRef>
              <c:f>Sheet1!$B$2:$B$16</c:f>
              <c:numCache>
                <c:formatCode>General</c:formatCode>
                <c:ptCount val="15"/>
                <c:pt idx="0">
                  <c:v>4.32</c:v>
                </c:pt>
                <c:pt idx="1">
                  <c:v>4.49</c:v>
                </c:pt>
                <c:pt idx="2">
                  <c:v>4.94</c:v>
                </c:pt>
                <c:pt idx="3">
                  <c:v>4.53</c:v>
                </c:pt>
                <c:pt idx="4">
                  <c:v>3.67</c:v>
                </c:pt>
                <c:pt idx="5">
                  <c:v>4.71</c:v>
                </c:pt>
                <c:pt idx="6">
                  <c:v>4.66</c:v>
                </c:pt>
                <c:pt idx="7">
                  <c:v>2.26</c:v>
                </c:pt>
                <c:pt idx="8">
                  <c:v>2.55</c:v>
                </c:pt>
                <c:pt idx="9">
                  <c:v>3.76</c:v>
                </c:pt>
                <c:pt idx="10">
                  <c:v>4.73</c:v>
                </c:pt>
                <c:pt idx="11">
                  <c:v>4.78</c:v>
                </c:pt>
                <c:pt idx="12">
                  <c:v>3.77</c:v>
                </c:pt>
                <c:pt idx="13">
                  <c:v>4.79</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3.27</a:t>
                    </a:r>
                  </a:p>
                </c:rich>
              </c:tx>
              <c:dLblPos val="t"/>
              <c:showLegendKey val="0"/>
              <c:showVal val="1"/>
              <c:showCatName val="0"/>
              <c:showSerName val="0"/>
              <c:showPercent val="0"/>
              <c:showBubbleSize val="0"/>
            </c:dLbl>
            <c:dLbl>
              <c:idx val="10"/>
              <c:tx>
                <c:rich>
                  <a:bodyPr/>
                  <a:lstStyle/>
                  <a:p>
                    <a:r>
                      <a:t>3.59</a:t>
                    </a:r>
                  </a:p>
                </c:rich>
              </c:tx>
              <c:dLblPos val="t"/>
              <c:showLegendKey val="0"/>
              <c:showVal val="1"/>
              <c:showCatName val="0"/>
              <c:showSerName val="0"/>
              <c:showPercent val="0"/>
              <c:showBubbleSize val="0"/>
            </c:dLbl>
            <c:dLbl>
              <c:idx val="11"/>
              <c:tx>
                <c:rich>
                  <a:bodyPr/>
                  <a:lstStyle/>
                  <a:p>
                    <a:r>
                      <a:t>6.26</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a:t>
                    </a:r>
                  </a:p>
                </c:rich>
              </c:tx>
              <c:dLblPos val="t"/>
              <c:showLegendKey val="0"/>
              <c:showVal val="1"/>
              <c:showCatName val="0"/>
              <c:showSerName val="0"/>
              <c:showPercent val="0"/>
              <c:showBubbleSize val="0"/>
            </c:dLbl>
            <c:dLbl>
              <c:idx val="14"/>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Mini Babybel Rouge Filet St Paulin Ferme 1X180Gr 9P</c:v>
                </c:pt>
                <c:pt idx="10">
                  <c:v>Kiri Gouter Fromage Blanc Dips Boite 1X280Gr 8P</c:v>
                </c:pt>
                <c:pt idx="11">
                  <c:v>Mini Babybel Rouge Filet St Paulin Ferme 1X440Gr 20P</c:v>
                </c:pt>
                <c:pt idx="12">
                  <c:v>Boursin Classique Fromage Frais A Tartiner Afh Boite 1X150Gr 1P</c:v>
                </c:pt>
                <c:pt idx="13">
                  <c:v>Boursin Classique Fromage Frais A Tartiner Afh 1X160Gr 10P</c:v>
                </c:pt>
                <c:pt idx="14">
                  <c:v>Boursin Classique Fromage Frais A Tartiner Afh Boite 1X250Gr 1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43</c:v>
                </c:pt>
                <c:pt idx="9">
                  <c:v>3.27</c:v>
                </c:pt>
                <c:pt idx="10">
                  <c:v>3.59</c:v>
                </c:pt>
                <c:pt idx="11">
                  <c:v>6.26</c:v>
                </c:pt>
                <c:pt idx="12">
                  <c:v>2.24</c:v>
                </c:pt>
                <c:pt idx="13">
                  <c:v>2.5</c:v>
                </c:pt>
                <c:pt idx="14">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63</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2.62</a:t>
                    </a:r>
                  </a:p>
                </c:rich>
              </c:tx>
              <c:dLblPos val="t"/>
              <c:showLegendKey val="0"/>
              <c:showVal val="1"/>
              <c:showCatName val="0"/>
              <c:showSerName val="0"/>
              <c:showPercent val="0"/>
              <c:showBubbleSize val="0"/>
            </c:dLbl>
            <c:dLbl>
              <c:idx val="13"/>
              <c:tx>
                <c:rich>
                  <a:bodyPr/>
                  <a:lstStyle/>
                  <a:p>
                    <a:r>
                      <a:t>3.47</a:t>
                    </a:r>
                  </a:p>
                </c:rich>
              </c:tx>
              <c:dLblPos val="t"/>
              <c:showLegendKey val="0"/>
              <c:showVal val="1"/>
              <c:showCatName val="0"/>
              <c:showSerName val="0"/>
              <c:showPercent val="0"/>
              <c:showBubbleSize val="0"/>
            </c:dLbl>
            <c:dLbl>
              <c:idx val="14"/>
              <c:tx>
                <c:rich>
                  <a:bodyPr/>
                  <a:lstStyle/>
                  <a:p>
                    <a:r>
                      <a:t>2.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Boursin Classique Fromage Frais A Tartiner Afh Boite 1X150Gr 1P</c:v>
                </c:pt>
                <c:pt idx="12">
                  <c:v>Boursin Classique Fromage Frais A Tartiner Afh 1X160Gr 10P</c:v>
                </c:pt>
                <c:pt idx="13">
                  <c:v>Boursin Classique Fromage Frais A Tartiner Afh Boite 1X250Gr 1P</c:v>
                </c:pt>
                <c:pt idx="14">
                  <c:v>Boursin Salade &amp; Aperitif Fromage Frais Des Afh 1X120Gr 1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55</c:v>
                </c:pt>
                <c:pt idx="9">
                  <c:v>3.63</c:v>
                </c:pt>
                <c:pt idx="10">
                  <c:v>2.43</c:v>
                </c:pt>
                <c:pt idx="11">
                  <c:v>2.36</c:v>
                </c:pt>
                <c:pt idx="12">
                  <c:v>2.62</c:v>
                </c:pt>
                <c:pt idx="13">
                  <c:v>3.47</c:v>
                </c:pt>
                <c:pt idx="14">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67</a:t>
                    </a:r>
                  </a:p>
                </c:rich>
              </c:tx>
              <c:dLblPos val="t"/>
              <c:showLegendKey val="0"/>
              <c:showVal val="1"/>
              <c:showCatName val="0"/>
              <c:showSerName val="0"/>
              <c:showPercent val="0"/>
              <c:showBubbleSize val="0"/>
            </c:dLbl>
            <c:dLbl>
              <c:idx val="8"/>
              <c:tx>
                <c:rich>
                  <a:bodyPr/>
                  <a:lstStyle/>
                  <a:p>
                    <a:r>
                      <a:t>2.27</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6.54</a:t>
                    </a:r>
                  </a:p>
                </c:rich>
              </c:tx>
              <c:dLblPos val="t"/>
              <c:showLegendKey val="0"/>
              <c:showVal val="1"/>
              <c:showCatName val="0"/>
              <c:showSerName val="0"/>
              <c:showPercent val="0"/>
              <c:showBubbleSize val="0"/>
            </c:dLbl>
            <c:dLbl>
              <c:idx val="11"/>
              <c:tx>
                <c:rich>
                  <a:bodyPr/>
                  <a:lstStyle/>
                  <a:p>
                    <a:r>
                      <a:t>2.45</a:t>
                    </a:r>
                  </a:p>
                </c:rich>
              </c:tx>
              <c:dLblPos val="t"/>
              <c:showLegendKey val="0"/>
              <c:showVal val="1"/>
              <c:showCatName val="0"/>
              <c:showSerName val="0"/>
              <c:showPercent val="0"/>
              <c:showBubbleSize val="0"/>
            </c:dLbl>
            <c:dLbl>
              <c:idx val="12"/>
              <c:tx>
                <c:rich>
                  <a:bodyPr/>
                  <a:lstStyle/>
                  <a:p>
                    <a:r>
                      <a:t>3.45</a:t>
                    </a:r>
                  </a:p>
                </c:rich>
              </c:tx>
              <c:dLblPos val="t"/>
              <c:showLegendKey val="0"/>
              <c:showVal val="1"/>
              <c:showCatName val="0"/>
              <c:showSerName val="0"/>
              <c:showPercent val="0"/>
              <c:showBubbleSize val="0"/>
            </c:dLbl>
            <c:dLbl>
              <c:idx val="13"/>
              <c:tx>
                <c:rich>
                  <a:bodyPr/>
                  <a:lstStyle/>
                  <a:p>
                    <a:r>
                      <a:t>2.49</a:t>
                    </a:r>
                  </a:p>
                </c:rich>
              </c:tx>
              <c:dLblPos val="t"/>
              <c:showLegendKey val="0"/>
              <c:showVal val="1"/>
              <c:showCatName val="0"/>
              <c:showSerName val="0"/>
              <c:showPercent val="0"/>
              <c:showBubbleSize val="0"/>
            </c:dLbl>
            <c:dLbl>
              <c:idx val="14"/>
              <c:tx>
                <c:rich>
                  <a:bodyPr/>
                  <a:lstStyle/>
                  <a:p>
                    <a:r>
                      <a:t>2.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Boursin Classique Fromage Frais A Tartiner Afh Boite 1X250Gr 1P</c:v>
                </c:pt>
                <c:pt idx="13">
                  <c:v>Boursin Classique Fromage Frais A Tartiner Afh 1X160Gr 10P</c:v>
                </c:pt>
                <c:pt idx="14">
                  <c:v>Boursin Classique Fromage Frais A Tartiner Afh Boite 1X150Gr 1P</c:v>
                </c:pt>
              </c:strCache>
            </c:strRef>
          </c:cat>
          <c:val>
            <c:numRef>
              <c:f>Sheet1!$B$2:$B$16</c:f>
              <c:numCache>
                <c:formatCode>General</c:formatCode>
                <c:ptCount val="15"/>
                <c:pt idx="0">
                  <c:v>4.61</c:v>
                </c:pt>
                <c:pt idx="1">
                  <c:v>4.87</c:v>
                </c:pt>
                <c:pt idx="2">
                  <c:v>2.53</c:v>
                </c:pt>
                <c:pt idx="3">
                  <c:v>2.5</c:v>
                </c:pt>
                <c:pt idx="4">
                  <c:v>4.05</c:v>
                </c:pt>
                <c:pt idx="5">
                  <c:v>3.04</c:v>
                </c:pt>
                <c:pt idx="6">
                  <c:v>5.39</c:v>
                </c:pt>
                <c:pt idx="7">
                  <c:v>3.67</c:v>
                </c:pt>
                <c:pt idx="8">
                  <c:v>2.27</c:v>
                </c:pt>
                <c:pt idx="9">
                  <c:v>2.41</c:v>
                </c:pt>
                <c:pt idx="10">
                  <c:v>6.54</c:v>
                </c:pt>
                <c:pt idx="11">
                  <c:v>2.45</c:v>
                </c:pt>
                <c:pt idx="12">
                  <c:v>3.45</c:v>
                </c:pt>
                <c:pt idx="13">
                  <c:v>2.49</c:v>
                </c:pt>
                <c:pt idx="14">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3</a:t>
                    </a:r>
                  </a:p>
                </c:rich>
              </c:tx>
              <c:dLblPos val="t"/>
              <c:showLegendKey val="0"/>
              <c:showVal val="1"/>
              <c:showCatName val="0"/>
              <c:showSerName val="0"/>
              <c:showPercent val="0"/>
              <c:showBubbleSize val="0"/>
            </c:dLbl>
            <c:dLbl>
              <c:idx val="1"/>
              <c:tx>
                <c:rich>
                  <a:bodyPr/>
                  <a:lstStyle/>
                  <a:p>
                    <a:r>
                      <a:t>4.34</a:t>
                    </a:r>
                  </a:p>
                </c:rich>
              </c:tx>
              <c:dLblPos val="t"/>
              <c:showLegendKey val="0"/>
              <c:showVal val="1"/>
              <c:showCatName val="0"/>
              <c:showSerName val="0"/>
              <c:showPercent val="0"/>
              <c:showBubbleSize val="0"/>
            </c:dLbl>
            <c:dLbl>
              <c:idx val="2"/>
              <c:tx>
                <c:rich>
                  <a:bodyPr/>
                  <a:lstStyle/>
                  <a:p>
                    <a:r>
                      <a:t>4.69</a:t>
                    </a:r>
                  </a:p>
                </c:rich>
              </c:tx>
              <c:dLblPos val="t"/>
              <c:showLegendKey val="0"/>
              <c:showVal val="1"/>
              <c:showCatName val="0"/>
              <c:showSerName val="0"/>
              <c:showPercent val="0"/>
              <c:showBubbleSize val="0"/>
            </c:dLbl>
            <c:dLbl>
              <c:idx val="3"/>
              <c:tx>
                <c:rich>
                  <a:bodyPr/>
                  <a:lstStyle/>
                  <a:p>
                    <a:r>
                      <a:t>4.33</a:t>
                    </a:r>
                  </a:p>
                </c:rich>
              </c:tx>
              <c:dLblPos val="t"/>
              <c:showLegendKey val="0"/>
              <c:showVal val="1"/>
              <c:showCatName val="0"/>
              <c:showSerName val="0"/>
              <c:showPercent val="0"/>
              <c:showBubbleSize val="0"/>
            </c:dLbl>
            <c:dLbl>
              <c:idx val="4"/>
              <c:tx>
                <c:rich>
                  <a:bodyPr/>
                  <a:lstStyle/>
                  <a:p>
                    <a:r>
                      <a:t>3.54</a:t>
                    </a:r>
                  </a:p>
                </c:rich>
              </c:tx>
              <c:dLblPos val="t"/>
              <c:showLegendKey val="0"/>
              <c:showVal val="1"/>
              <c:showCatName val="0"/>
              <c:showSerName val="0"/>
              <c:showPercent val="0"/>
              <c:showBubbleSize val="0"/>
            </c:dLbl>
            <c:dLbl>
              <c:idx val="5"/>
              <c:tx>
                <c:rich>
                  <a:bodyPr/>
                  <a:lstStyle/>
                  <a:p>
                    <a:r>
                      <a:t>4.38</a:t>
                    </a:r>
                  </a:p>
                </c:rich>
              </c:tx>
              <c:dLblPos val="t"/>
              <c:showLegendKey val="0"/>
              <c:showVal val="1"/>
              <c:showCatName val="0"/>
              <c:showSerName val="0"/>
              <c:showPercent val="0"/>
              <c:showBubbleSize val="0"/>
            </c:dLbl>
            <c:dLbl>
              <c:idx val="6"/>
              <c:tx>
                <c:rich>
                  <a:bodyPr/>
                  <a:lstStyle/>
                  <a:p>
                    <a:r>
                      <a:t>2.22</a:t>
                    </a:r>
                  </a:p>
                </c:rich>
              </c:tx>
              <c:dLblPos val="t"/>
              <c:showLegendKey val="0"/>
              <c:showVal val="1"/>
              <c:showCatName val="0"/>
              <c:showSerName val="0"/>
              <c:showPercent val="0"/>
              <c:showBubbleSize val="0"/>
            </c:dLbl>
            <c:dLbl>
              <c:idx val="7"/>
              <c:tx>
                <c:rich>
                  <a:bodyPr/>
                  <a:lstStyle/>
                  <a:p>
                    <a:r>
                      <a:t>4.47</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4.5</a:t>
                    </a:r>
                  </a:p>
                </c:rich>
              </c:tx>
              <c:dLblPos val="t"/>
              <c:showLegendKey val="0"/>
              <c:showVal val="1"/>
              <c:showCatName val="0"/>
              <c:showSerName val="0"/>
              <c:showPercent val="0"/>
              <c:showBubbleSize val="0"/>
            </c:dLbl>
            <c:dLbl>
              <c:idx val="10"/>
              <c:tx>
                <c:rich>
                  <a:bodyPr/>
                  <a:lstStyle/>
                  <a:p>
                    <a:r>
                      <a:t>3.55</a:t>
                    </a:r>
                  </a:p>
                </c:rich>
              </c:tx>
              <c:dLblPos val="t"/>
              <c:showLegendKey val="0"/>
              <c:showVal val="1"/>
              <c:showCatName val="0"/>
              <c:showSerName val="0"/>
              <c:showPercent val="0"/>
              <c:showBubbleSize val="0"/>
            </c:dLbl>
            <c:dLbl>
              <c:idx val="11"/>
              <c:tx>
                <c:rich>
                  <a:bodyPr/>
                  <a:lstStyle/>
                  <a:p>
                    <a:r>
                      <a:t>4.38</a:t>
                    </a:r>
                  </a:p>
                </c:rich>
              </c:tx>
              <c:dLblPos val="t"/>
              <c:showLegendKey val="0"/>
              <c:showVal val="1"/>
              <c:showCatName val="0"/>
              <c:showSerName val="0"/>
              <c:showPercent val="0"/>
              <c:showBubbleSize val="0"/>
            </c:dLbl>
            <c:dLbl>
              <c:idx val="12"/>
              <c:tx>
                <c:rich>
                  <a:bodyPr/>
                  <a:lstStyle/>
                  <a:p>
                    <a:r>
                      <a:t>2.49</a:t>
                    </a:r>
                  </a:p>
                </c:rich>
              </c:tx>
              <c:dLblPos val="t"/>
              <c:showLegendKey val="0"/>
              <c:showVal val="1"/>
              <c:showCatName val="0"/>
              <c:showSerName val="0"/>
              <c:showPercent val="0"/>
              <c:showBubbleSize val="0"/>
            </c:dLbl>
            <c:dLbl>
              <c:idx val="13"/>
              <c:tx>
                <c:rich>
                  <a:bodyPr/>
                  <a:lstStyle/>
                  <a:p>
                    <a:r>
                      <a:t>4.46</a:t>
                    </a:r>
                  </a:p>
                </c:rich>
              </c:tx>
              <c:dLblPos val="t"/>
              <c:showLegendKey val="0"/>
              <c:showVal val="1"/>
              <c:showCatName val="0"/>
              <c:showSerName val="0"/>
              <c:showPercent val="0"/>
              <c:showBubbleSize val="0"/>
            </c:dLbl>
            <c:dLbl>
              <c:idx val="14"/>
              <c:tx>
                <c:rich>
                  <a:bodyPr/>
                  <a:lstStyle/>
                  <a:p>
                    <a:r>
                      <a:t>4.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Nature Fromage Fondu Cube 1X125Gr 24P</c:v>
                </c:pt>
                <c:pt idx="7">
                  <c:v>Apericube Edition Limitee Saison Fromage Fondu Cube Assortis 1X250Gr 48P</c:v>
                </c:pt>
                <c:pt idx="8">
                  <c:v>Apericube Campagne Fromage Fondu Cube Assortis 1X125Gr 24P</c:v>
                </c:pt>
                <c:pt idx="9">
                  <c:v>Apericube Edition Voyage Fromage Fondu Cube Assortis 1X250Gr 48P</c:v>
                </c:pt>
                <c:pt idx="10">
                  <c:v>Boursin Aperitif Roules Fromage Frais Roule Ciboulette &amp; Echalote Jambon Fume Boite 1X100Gr 20P</c:v>
                </c:pt>
                <c:pt idx="11">
                  <c:v>Apericube Saveurs De L'Authentique Fromage Fondu Cube Assortis 1X250Gr 48P</c:v>
                </c:pt>
                <c:pt idx="12">
                  <c:v>Apericube Long Drink Fromage Fondu Cube Assortis 1X125Gr 24P</c:v>
                </c:pt>
                <c:pt idx="13">
                  <c:v>Apericube Charcut' Fromages Fromage Fondu Cube Assortis 1X250Gr 48P</c:v>
                </c:pt>
                <c:pt idx="14">
                  <c:v>Apericube Carrement Toque Fromage Fondu Cube Assortis 1X250Gr 48P</c:v>
                </c:pt>
              </c:strCache>
            </c:strRef>
          </c:cat>
          <c:val>
            <c:numRef>
              <c:f>Sheet1!$B$2:$B$16</c:f>
              <c:numCache>
                <c:formatCode>General</c:formatCode>
                <c:ptCount val="15"/>
                <c:pt idx="0">
                  <c:v>4.33</c:v>
                </c:pt>
                <c:pt idx="1">
                  <c:v>4.34</c:v>
                </c:pt>
                <c:pt idx="2">
                  <c:v>4.69</c:v>
                </c:pt>
                <c:pt idx="3">
                  <c:v>4.33</c:v>
                </c:pt>
                <c:pt idx="4">
                  <c:v>3.54</c:v>
                </c:pt>
                <c:pt idx="5">
                  <c:v>4.38</c:v>
                </c:pt>
                <c:pt idx="6">
                  <c:v>2.22</c:v>
                </c:pt>
                <c:pt idx="7">
                  <c:v>4.47</c:v>
                </c:pt>
                <c:pt idx="8">
                  <c:v>2.46</c:v>
                </c:pt>
                <c:pt idx="9">
                  <c:v>4.5</c:v>
                </c:pt>
                <c:pt idx="10">
                  <c:v>3.55</c:v>
                </c:pt>
                <c:pt idx="11">
                  <c:v>4.38</c:v>
                </c:pt>
                <c:pt idx="12">
                  <c:v>2.49</c:v>
                </c:pt>
                <c:pt idx="13">
                  <c:v>4.46</c:v>
                </c:pt>
                <c:pt idx="14">
                  <c:v>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7</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2</a:t>
                    </a:r>
                  </a:p>
                </c:rich>
              </c:tx>
              <c:dLblPos val="t"/>
              <c:showLegendKey val="0"/>
              <c:showVal val="1"/>
              <c:showCatName val="0"/>
              <c:showSerName val="0"/>
              <c:showPercent val="0"/>
              <c:showBubbleSize val="0"/>
            </c:dLbl>
            <c:dLbl>
              <c:idx val="4"/>
              <c:tx>
                <c:rich>
                  <a:bodyPr/>
                  <a:lstStyle/>
                  <a:p>
                    <a:r>
                      <a:t>4.43</a:t>
                    </a:r>
                  </a:p>
                </c:rich>
              </c:tx>
              <c:dLblPos val="t"/>
              <c:showLegendKey val="0"/>
              <c:showVal val="1"/>
              <c:showCatName val="0"/>
              <c:showSerName val="0"/>
              <c:showPercent val="0"/>
              <c:showBubbleSize val="0"/>
            </c:dLbl>
            <c:dLbl>
              <c:idx val="5"/>
              <c:tx>
                <c:rich>
                  <a:bodyPr/>
                  <a:lstStyle/>
                  <a:p>
                    <a:r>
                      <a:t>4.37</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4.33</a:t>
                    </a:r>
                  </a:p>
                </c:rich>
              </c:tx>
              <c:dLblPos val="t"/>
              <c:showLegendKey val="0"/>
              <c:showVal val="1"/>
              <c:showCatName val="0"/>
              <c:showSerName val="0"/>
              <c:showPercent val="0"/>
              <c:showBubbleSize val="0"/>
            </c:dLbl>
            <c:dLbl>
              <c:idx val="8"/>
              <c:tx>
                <c:rich>
                  <a:bodyPr/>
                  <a:lstStyle/>
                  <a:p>
                    <a:r>
                      <a:t>3.54</a:t>
                    </a:r>
                  </a:p>
                </c:rich>
              </c:tx>
              <c:dLblPos val="t"/>
              <c:showLegendKey val="0"/>
              <c:showVal val="1"/>
              <c:showCatName val="0"/>
              <c:showSerName val="0"/>
              <c:showPercent val="0"/>
              <c:showBubbleSize val="0"/>
            </c:dLbl>
            <c:dLbl>
              <c:idx val="9"/>
              <c:tx>
                <c:rich>
                  <a:bodyPr/>
                  <a:lstStyle/>
                  <a:p>
                    <a:r>
                      <a:t>2.44</a:t>
                    </a:r>
                  </a:p>
                </c:rich>
              </c:tx>
              <c:dLblPos val="t"/>
              <c:showLegendKey val="0"/>
              <c:showVal val="1"/>
              <c:showCatName val="0"/>
              <c:showSerName val="0"/>
              <c:showPercent val="0"/>
              <c:showBubbleSize val="0"/>
            </c:dLbl>
            <c:dLbl>
              <c:idx val="10"/>
              <c:tx>
                <c:rich>
                  <a:bodyPr/>
                  <a:lstStyle/>
                  <a:p>
                    <a:r>
                      <a:t>4.38</a:t>
                    </a:r>
                  </a:p>
                </c:rich>
              </c:tx>
              <c:dLblPos val="t"/>
              <c:showLegendKey val="0"/>
              <c:showVal val="1"/>
              <c:showCatName val="0"/>
              <c:showSerName val="0"/>
              <c:showPercent val="0"/>
              <c:showBubbleSize val="0"/>
            </c:dLbl>
            <c:dLbl>
              <c:idx val="11"/>
              <c:tx>
                <c:rich>
                  <a:bodyPr/>
                  <a:lstStyle/>
                  <a:p>
                    <a:r>
                      <a:t>2.57</a:t>
                    </a:r>
                  </a:p>
                </c:rich>
              </c:tx>
              <c:dLblPos val="t"/>
              <c:showLegendKey val="0"/>
              <c:showVal val="1"/>
              <c:showCatName val="0"/>
              <c:showSerName val="0"/>
              <c:showPercent val="0"/>
              <c:showBubbleSize val="0"/>
            </c:dLbl>
            <c:dLbl>
              <c:idx val="12"/>
              <c:tx>
                <c:rich>
                  <a:bodyPr/>
                  <a:lstStyle/>
                  <a:p>
                    <a:r>
                      <a:t>4.42</a:t>
                    </a:r>
                  </a:p>
                </c:rich>
              </c:tx>
              <c:dLblPos val="t"/>
              <c:showLegendKey val="0"/>
              <c:showVal val="1"/>
              <c:showCatName val="0"/>
              <c:showSerName val="0"/>
              <c:showPercent val="0"/>
              <c:showBubbleSize val="0"/>
            </c:dLbl>
            <c:dLbl>
              <c:idx val="13"/>
              <c:tx>
                <c:rich>
                  <a:bodyPr/>
                  <a:lstStyle/>
                  <a:p>
                    <a:r>
                      <a:t>2.45</a:t>
                    </a:r>
                  </a:p>
                </c:rich>
              </c:tx>
              <c:dLblPos val="t"/>
              <c:showLegendKey val="0"/>
              <c:showVal val="1"/>
              <c:showCatName val="0"/>
              <c:showSerName val="0"/>
              <c:showPercent val="0"/>
              <c:showBubbleSize val="0"/>
            </c:dLbl>
            <c:dLbl>
              <c:idx val="14"/>
              <c:tx>
                <c:rich>
                  <a:bodyPr/>
                  <a:lstStyle/>
                  <a:p>
                    <a:r>
                      <a:t>3.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strCache>
            </c:strRef>
          </c:cat>
          <c:val>
            <c:numRef>
              <c:f>Sheet1!$B$2:$B$16</c:f>
              <c:numCache>
                <c:formatCode>General</c:formatCode>
                <c:ptCount val="15"/>
                <c:pt idx="0">
                  <c:v>4.57</c:v>
                </c:pt>
                <c:pt idx="1">
                  <c:v>4.51</c:v>
                </c:pt>
                <c:pt idx="2">
                  <c:v>4.73</c:v>
                </c:pt>
                <c:pt idx="3">
                  <c:v>3.62</c:v>
                </c:pt>
                <c:pt idx="4">
                  <c:v>4.43</c:v>
                </c:pt>
                <c:pt idx="5">
                  <c:v>4.37</c:v>
                </c:pt>
                <c:pt idx="6">
                  <c:v>2.15</c:v>
                </c:pt>
                <c:pt idx="7">
                  <c:v>4.33</c:v>
                </c:pt>
                <c:pt idx="8">
                  <c:v>3.54</c:v>
                </c:pt>
                <c:pt idx="9">
                  <c:v>2.44</c:v>
                </c:pt>
                <c:pt idx="10">
                  <c:v>4.38</c:v>
                </c:pt>
                <c:pt idx="11">
                  <c:v>2.57</c:v>
                </c:pt>
                <c:pt idx="12">
                  <c:v>4.42</c:v>
                </c:pt>
                <c:pt idx="13">
                  <c:v>2.45</c:v>
                </c:pt>
                <c:pt idx="14">
                  <c:v>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2.5</a:t>
                    </a:r>
                  </a:p>
                </c:rich>
              </c:tx>
              <c:dLblPos val="t"/>
              <c:showLegendKey val="0"/>
              <c:showVal val="1"/>
              <c:showCatName val="0"/>
              <c:showSerName val="0"/>
              <c:showPercent val="0"/>
              <c:showBubbleSize val="0"/>
            </c:dLbl>
            <c:dLbl>
              <c:idx val="3"/>
              <c:tx>
                <c:rich>
                  <a:bodyPr/>
                  <a:lstStyle/>
                  <a:p>
                    <a:r>
                      <a:t>3.48</a:t>
                    </a:r>
                  </a:p>
                </c:rich>
              </c:tx>
              <c:dLblPos val="t"/>
              <c:showLegendKey val="0"/>
              <c:showVal val="1"/>
              <c:showCatName val="0"/>
              <c:showSerName val="0"/>
              <c:showPercent val="0"/>
              <c:showBubbleSize val="0"/>
            </c:dLbl>
            <c:dLbl>
              <c:idx val="4"/>
              <c:tx>
                <c:rich>
                  <a:bodyPr/>
                  <a:lstStyle/>
                  <a:p>
                    <a:r>
                      <a:t>1.74</a:t>
                    </a:r>
                  </a:p>
                </c:rich>
              </c:tx>
              <c:dLblPos val="t"/>
              <c:showLegendKey val="0"/>
              <c:showVal val="1"/>
              <c:showCatName val="0"/>
              <c:showSerName val="0"/>
              <c:showPercent val="0"/>
              <c:showBubbleSize val="0"/>
            </c:dLbl>
            <c:dLbl>
              <c:idx val="5"/>
              <c:tx>
                <c:rich>
                  <a:bodyPr/>
                  <a:lstStyle/>
                  <a:p>
                    <a:r>
                      <a:t>2.28</a:t>
                    </a:r>
                  </a:p>
                </c:rich>
              </c:tx>
              <c:dLblPos val="t"/>
              <c:showLegendKey val="0"/>
              <c:showVal val="1"/>
              <c:showCatName val="0"/>
              <c:showSerName val="0"/>
              <c:showPercent val="0"/>
              <c:showBubbleSize val="0"/>
            </c:dLbl>
            <c:dLbl>
              <c:idx val="6"/>
              <c:tx>
                <c:rich>
                  <a:bodyPr/>
                  <a:lstStyle/>
                  <a:p>
                    <a:r>
                      <a:t>2.18</a:t>
                    </a:r>
                  </a:p>
                </c:rich>
              </c:tx>
              <c:dLblPos val="t"/>
              <c:showLegendKey val="0"/>
              <c:showVal val="1"/>
              <c:showCatName val="0"/>
              <c:showSerName val="0"/>
              <c:showPercent val="0"/>
              <c:showBubbleSize val="0"/>
            </c:dLbl>
            <c:dLbl>
              <c:idx val="7"/>
              <c:tx>
                <c:rich>
                  <a:bodyPr/>
                  <a:lstStyle/>
                  <a:p>
                    <a:r>
                      <a:t>2.27</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6</a:t>
                    </a:r>
                  </a:p>
                </c:rich>
              </c:tx>
              <c:dLblPos val="t"/>
              <c:showLegendKey val="0"/>
              <c:showVal val="1"/>
              <c:showCatName val="0"/>
              <c:showSerName val="0"/>
              <c:showPercent val="0"/>
              <c:showBubbleSize val="0"/>
            </c:dLbl>
            <c:dLbl>
              <c:idx val="11"/>
              <c:tx>
                <c:rich>
                  <a:bodyPr/>
                  <a:lstStyle/>
                  <a:p>
                    <a:r>
                      <a:t>2.65</a:t>
                    </a:r>
                  </a:p>
                </c:rich>
              </c:tx>
              <c:dLblPos val="t"/>
              <c:showLegendKey val="0"/>
              <c:showVal val="1"/>
              <c:showCatName val="0"/>
              <c:showSerName val="0"/>
              <c:showPercent val="0"/>
              <c:showBubbleSize val="0"/>
            </c:dLbl>
            <c:dLbl>
              <c:idx val="12"/>
              <c:tx>
                <c:rich>
                  <a:bodyPr/>
                  <a:lstStyle/>
                  <a:p>
                    <a:r>
                      <a:t>2.32</a:t>
                    </a:r>
                  </a:p>
                </c:rich>
              </c:tx>
              <c:dLblPos val="t"/>
              <c:showLegendKey val="0"/>
              <c:showVal val="1"/>
              <c:showCatName val="0"/>
              <c:showSerName val="0"/>
              <c:showPercent val="0"/>
              <c:showBubbleSize val="0"/>
            </c:dLbl>
            <c:dLbl>
              <c:idx val="13"/>
              <c:tx>
                <c:rich>
                  <a:bodyPr/>
                  <a:lstStyle/>
                  <a:p>
                    <a:r>
                      <a:t>3.66</a:t>
                    </a:r>
                  </a:p>
                </c:rich>
              </c:tx>
              <c:dLblPos val="t"/>
              <c:showLegendKey val="0"/>
              <c:showVal val="1"/>
              <c:showCatName val="0"/>
              <c:showSerName val="0"/>
              <c:showPercent val="0"/>
              <c:showBubbleSize val="0"/>
            </c:dLbl>
            <c:dLbl>
              <c:idx val="14"/>
              <c:tx>
                <c:rich>
                  <a:bodyPr/>
                  <a:lstStyle/>
                  <a:p>
                    <a:r>
                      <a:t>3.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EL BOURSIN SALADE &amp; APERITIF SOFT CHEESE SALADE 1 CT X 120GR</c:v>
                </c:pt>
                <c:pt idx="11">
                  <c:v>Boursin Salade &amp; Aperitif Fromage Frais Des Citron Romarin 1X120Gr 1P</c:v>
                </c:pt>
                <c:pt idx="12">
                  <c:v>Boursin Classique Fromage Frais A Tartiner Poivre Boite 1X15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43</c:v>
                </c:pt>
                <c:pt idx="1">
                  <c:v>2.65</c:v>
                </c:pt>
                <c:pt idx="2">
                  <c:v>2.5</c:v>
                </c:pt>
                <c:pt idx="3">
                  <c:v>3.48</c:v>
                </c:pt>
                <c:pt idx="4">
                  <c:v>1.74</c:v>
                </c:pt>
                <c:pt idx="5">
                  <c:v>2.28</c:v>
                </c:pt>
                <c:pt idx="6">
                  <c:v>2.18</c:v>
                </c:pt>
                <c:pt idx="7">
                  <c:v>2.27</c:v>
                </c:pt>
                <c:pt idx="8">
                  <c:v>2.32</c:v>
                </c:pt>
                <c:pt idx="9">
                  <c:v>2.39</c:v>
                </c:pt>
                <c:pt idx="10">
                  <c:v>2.6</c:v>
                </c:pt>
                <c:pt idx="11">
                  <c:v>2.65</c:v>
                </c:pt>
                <c:pt idx="12">
                  <c:v>2.32</c:v>
                </c:pt>
                <c:pt idx="13">
                  <c:v>3.66</c:v>
                </c:pt>
                <c:pt idx="14">
                  <c:v>3.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28</a:t>
                    </a:r>
                  </a:p>
                </c:rich>
              </c:tx>
              <c:dLblPos val="t"/>
              <c:showLegendKey val="0"/>
              <c:showVal val="1"/>
              <c:showCatName val="0"/>
              <c:showSerName val="0"/>
              <c:showPercent val="0"/>
              <c:showBubbleSize val="0"/>
            </c:dLbl>
            <c:dLbl>
              <c:idx val="1"/>
              <c:tx>
                <c:rich>
                  <a:bodyPr/>
                  <a:lstStyle/>
                  <a:p>
                    <a:r>
                      <a:t>4.43</a:t>
                    </a:r>
                  </a:p>
                </c:rich>
              </c:tx>
              <c:dLblPos val="t"/>
              <c:showLegendKey val="0"/>
              <c:showVal val="1"/>
              <c:showCatName val="0"/>
              <c:showSerName val="0"/>
              <c:showPercent val="0"/>
              <c:showBubbleSize val="0"/>
            </c:dLbl>
            <c:dLbl>
              <c:idx val="2"/>
              <c:tx>
                <c:rich>
                  <a:bodyPr/>
                  <a:lstStyle/>
                  <a:p>
                    <a:r>
                      <a:t>4.8</a:t>
                    </a:r>
                  </a:p>
                </c:rich>
              </c:tx>
              <c:dLblPos val="t"/>
              <c:showLegendKey val="0"/>
              <c:showVal val="1"/>
              <c:showCatName val="0"/>
              <c:showSerName val="0"/>
              <c:showPercent val="0"/>
              <c:showBubbleSize val="0"/>
            </c:dLbl>
            <c:dLbl>
              <c:idx val="3"/>
              <c:tx>
                <c:rich>
                  <a:bodyPr/>
                  <a:lstStyle/>
                  <a:p>
                    <a:r>
                      <a:t>4.42</a:t>
                    </a:r>
                  </a:p>
                </c:rich>
              </c:tx>
              <c:dLblPos val="t"/>
              <c:showLegendKey val="0"/>
              <c:showVal val="1"/>
              <c:showCatName val="0"/>
              <c:showSerName val="0"/>
              <c:showPercent val="0"/>
              <c:showBubbleSize val="0"/>
            </c:dLbl>
            <c:dLbl>
              <c:idx val="4"/>
              <c:tx>
                <c:rich>
                  <a:bodyPr/>
                  <a:lstStyle/>
                  <a:p>
                    <a:r>
                      <a:t>3.56</a:t>
                    </a:r>
                  </a:p>
                </c:rich>
              </c:tx>
              <c:dLblPos val="t"/>
              <c:showLegendKey val="0"/>
              <c:showVal val="1"/>
              <c:showCatName val="0"/>
              <c:showSerName val="0"/>
              <c:showPercent val="0"/>
              <c:showBubbleSize val="0"/>
            </c:dLbl>
            <c:dLbl>
              <c:idx val="5"/>
              <c:tx>
                <c:rich>
                  <a:bodyPr/>
                  <a:lstStyle/>
                  <a:p>
                    <a:r>
                      <a:t>4.49</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4</a:t>
                    </a:r>
                  </a:p>
                </c:rich>
              </c:tx>
              <c:dLblPos val="t"/>
              <c:showLegendKey val="0"/>
              <c:showVal val="1"/>
              <c:showCatName val="0"/>
              <c:showSerName val="0"/>
              <c:showPercent val="0"/>
              <c:showBubbleSize val="0"/>
            </c:dLbl>
            <c:dLbl>
              <c:idx val="8"/>
              <c:tx>
                <c:rich>
                  <a:bodyPr/>
                  <a:lstStyle/>
                  <a:p>
                    <a:r>
                      <a:t>4.61</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46</a:t>
                    </a:r>
                  </a:p>
                </c:rich>
              </c:tx>
              <c:dLblPos val="t"/>
              <c:showLegendKey val="0"/>
              <c:showVal val="1"/>
              <c:showCatName val="0"/>
              <c:showSerName val="0"/>
              <c:showPercent val="0"/>
              <c:showBubbleSize val="0"/>
            </c:dLbl>
            <c:dLbl>
              <c:idx val="11"/>
              <c:tx>
                <c:rich>
                  <a:bodyPr/>
                  <a:lstStyle/>
                  <a:p>
                    <a:r>
                      <a:t>4.51</a:t>
                    </a:r>
                  </a:p>
                </c:rich>
              </c:tx>
              <c:dLblPos val="t"/>
              <c:showLegendKey val="0"/>
              <c:showVal val="1"/>
              <c:showCatName val="0"/>
              <c:showSerName val="0"/>
              <c:showPercent val="0"/>
              <c:showBubbleSize val="0"/>
            </c:dLbl>
            <c:dLbl>
              <c:idx val="12"/>
              <c:tx>
                <c:rich>
                  <a:bodyPr/>
                  <a:lstStyle/>
                  <a:p>
                    <a:r>
                      <a:t>3.68</a:t>
                    </a:r>
                  </a:p>
                </c:rich>
              </c:tx>
              <c:dLblPos val="t"/>
              <c:showLegendKey val="0"/>
              <c:showVal val="1"/>
              <c:showCatName val="0"/>
              <c:showSerName val="0"/>
              <c:showPercent val="0"/>
              <c:showBubbleSize val="0"/>
            </c:dLbl>
            <c:dLbl>
              <c:idx val="13"/>
              <c:tx>
                <c:rich>
                  <a:bodyPr/>
                  <a:lstStyle/>
                  <a:p>
                    <a:r>
                      <a:t>2.56</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BEL APERICUBE SOIREE MATCH APERITIF APERITIF 1 CT X 250GR</c:v>
                </c:pt>
              </c:strCache>
            </c:strRef>
          </c:cat>
          <c:val>
            <c:numRef>
              <c:f>Sheet1!$B$2:$B$16</c:f>
              <c:numCache>
                <c:formatCode>General</c:formatCode>
                <c:ptCount val="15"/>
                <c:pt idx="0">
                  <c:v>4.28</c:v>
                </c:pt>
                <c:pt idx="1">
                  <c:v>4.43</c:v>
                </c:pt>
                <c:pt idx="2">
                  <c:v>4.8</c:v>
                </c:pt>
                <c:pt idx="3">
                  <c:v>4.42</c:v>
                </c:pt>
                <c:pt idx="4">
                  <c:v>3.56</c:v>
                </c:pt>
                <c:pt idx="5">
                  <c:v>4.49</c:v>
                </c:pt>
                <c:pt idx="6">
                  <c:v>4.66</c:v>
                </c:pt>
                <c:pt idx="7">
                  <c:v>2.24</c:v>
                </c:pt>
                <c:pt idx="8">
                  <c:v>4.61</c:v>
                </c:pt>
                <c:pt idx="9">
                  <c:v>3.67</c:v>
                </c:pt>
                <c:pt idx="10">
                  <c:v>2.46</c:v>
                </c:pt>
                <c:pt idx="11">
                  <c:v>4.51</c:v>
                </c:pt>
                <c:pt idx="12">
                  <c:v>3.68</c:v>
                </c:pt>
                <c:pt idx="13">
                  <c:v>2.56</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2.8</a:t>
                    </a:r>
                  </a:p>
                </c:rich>
              </c:tx>
              <c:showLegendKey val="0"/>
              <c:showVal val="1"/>
              <c:showCatName val="0"/>
              <c:showSerName val="0"/>
              <c:showPercent val="0"/>
              <c:showBubbleSize val="0"/>
            </c:dLbl>
            <c:dLbl>
              <c:idx val="10"/>
              <c:tx>
                <c:rich>
                  <a:bodyPr/>
                  <a:lstStyle/>
                  <a:p>
                    <a:r>
                      <a:t>3.82</a:t>
                    </a:r>
                  </a:p>
                </c:rich>
              </c:tx>
              <c:showLegendKey val="0"/>
              <c:showVal val="1"/>
              <c:showCatName val="0"/>
              <c:showSerName val="0"/>
              <c:showPercent val="0"/>
              <c:showBubbleSize val="0"/>
            </c:dLbl>
            <c:dLbl>
              <c:idx val="11"/>
              <c:tx>
                <c:rich>
                  <a:bodyPr/>
                  <a:lstStyle/>
                  <a:p>
                    <a:r>
                      <a:t>3.3</a:t>
                    </a:r>
                  </a:p>
                </c:rich>
              </c:tx>
              <c:showLegendKey val="0"/>
              <c:showVal val="1"/>
              <c:showCatName val="0"/>
              <c:showSerName val="0"/>
              <c:showPercent val="0"/>
              <c:showBubbleSize val="0"/>
            </c:dLbl>
            <c:dLbl>
              <c:idx val="12"/>
              <c:tx>
                <c:rich>
                  <a:bodyPr/>
                  <a:lstStyle/>
                  <a:p>
                    <a:r>
                      <a:t>3.09</a:t>
                    </a:r>
                  </a:p>
                </c:rich>
              </c:tx>
              <c:showLegendKey val="0"/>
              <c:showVal val="1"/>
              <c:showCatName val="0"/>
              <c:showSerName val="0"/>
              <c:showPercent val="0"/>
              <c:showBubbleSize val="0"/>
            </c:dLbl>
            <c:dLbl>
              <c:idx val="13"/>
              <c:tx>
                <c:rich>
                  <a:bodyPr/>
                  <a:lstStyle/>
                  <a:p>
                    <a:r>
                      <a:t>2.54</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MDD MDD STD SOFT CHEESE SALADE 1 CT X 200GR</c:v>
                </c:pt>
                <c:pt idx="6">
                  <c:v>MDD MDD STD SOFT CHEESE SALADE 1 CT X 125GR</c:v>
                </c:pt>
                <c:pt idx="7">
                  <c:v>MDD MDD STD SOFT CHEESE SALADE 1 CT X 150GR</c:v>
                </c:pt>
                <c:pt idx="8">
                  <c:v>MDD MDD STD SOFT CHEESE CLASSIQUE 1 CT X 250GR</c:v>
                </c:pt>
                <c:pt idx="9">
                  <c:v>MDD MDD STD SOFT CHEESE SALADE 1 CT X 375GR</c:v>
                </c:pt>
                <c:pt idx="10">
                  <c:v>Caprice Des Dieux Specialite Ovale Boite 1X300Gr 1P</c:v>
                </c:pt>
                <c:pt idx="11">
                  <c:v>Caprice Des Dieux Specialite Ovale Boite 1X200Gr 1P</c:v>
                </c:pt>
                <c:pt idx="12">
                  <c:v>Coeur De Lion Coulommiers Lait Pasteurise Boite 1X350Gr 1P</c:v>
                </c:pt>
                <c:pt idx="13">
                  <c:v>Le Rustique Camembert Lait Pasteurise Boite 1X250Gr 1P</c:v>
                </c:pt>
                <c:pt idx="14">
                  <c:v>Coeur De Lion Camembert Lait Pasteurise Boite 1X250Gr 1P</c:v>
                </c:pt>
              </c:strCache>
            </c:strRef>
          </c:cat>
          <c:val>
            <c:numRef>
              <c:f>Sheet1!$B$2:$B$16</c:f>
              <c:numCache>
                <c:formatCode>General</c:formatCode>
                <c:ptCount val="15"/>
                <c:pt idx="0">
                  <c:v>2.61</c:v>
                </c:pt>
                <c:pt idx="1">
                  <c:v>4.42</c:v>
                </c:pt>
                <c:pt idx="2">
                  <c:v>4.09</c:v>
                </c:pt>
                <c:pt idx="3">
                  <c:v>4.82</c:v>
                </c:pt>
                <c:pt idx="4">
                  <c:v>2.78</c:v>
                </c:pt>
                <c:pt idx="5">
                  <c:v>3.22</c:v>
                </c:pt>
                <c:pt idx="6">
                  <c:v>1.69</c:v>
                </c:pt>
                <c:pt idx="7">
                  <c:v>2.34</c:v>
                </c:pt>
                <c:pt idx="8">
                  <c:v>2.2</c:v>
                </c:pt>
                <c:pt idx="9">
                  <c:v>2.8</c:v>
                </c:pt>
                <c:pt idx="10">
                  <c:v>3.82</c:v>
                </c:pt>
                <c:pt idx="11">
                  <c:v>3.3</c:v>
                </c:pt>
                <c:pt idx="12">
                  <c:v>3.09</c:v>
                </c:pt>
                <c:pt idx="13">
                  <c:v>2.54</c:v>
                </c:pt>
                <c:pt idx="14">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2.06</a:t>
                    </a:r>
                  </a:p>
                </c:rich>
              </c:tx>
              <c:showLegendKey val="0"/>
              <c:showVal val="1"/>
              <c:showCatName val="0"/>
              <c:showSerName val="0"/>
              <c:showPercent val="0"/>
              <c:showBubbleSize val="0"/>
            </c:dLbl>
            <c:dLbl>
              <c:idx val="7"/>
              <c:tx>
                <c:rich>
                  <a:bodyPr/>
                  <a:lstStyle/>
                  <a:p>
                    <a:r>
                      <a:t>3.06</a:t>
                    </a:r>
                  </a:p>
                </c:rich>
              </c:tx>
              <c:showLegendKey val="0"/>
              <c:showVal val="1"/>
              <c:showCatName val="0"/>
              <c:showSerName val="0"/>
              <c:showPercent val="0"/>
              <c:showBubbleSize val="0"/>
            </c:dLbl>
            <c:dLbl>
              <c:idx val="8"/>
              <c:tx>
                <c:rich>
                  <a:bodyPr/>
                  <a:lstStyle/>
                  <a:p>
                    <a:r>
                      <a:t>3.64</a:t>
                    </a:r>
                  </a:p>
                </c:rich>
              </c:tx>
              <c:showLegendKey val="0"/>
              <c:showVal val="1"/>
              <c:showCatName val="0"/>
              <c:showSerName val="0"/>
              <c:showPercent val="0"/>
              <c:showBubbleSize val="0"/>
            </c:dLbl>
            <c:dLbl>
              <c:idx val="9"/>
              <c:tx>
                <c:rich>
                  <a:bodyPr/>
                  <a:lstStyle/>
                  <a:p>
                    <a:r>
                      <a:t>2.98</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dLbl>
              <c:idx val="15"/>
              <c:tx>
                <c:rich>
                  <a:bodyPr/>
                  <a:lstStyle/>
                  <a:p>
                    <a:r>
                      <a:t>3.82</a:t>
                    </a:r>
                  </a:p>
                </c:rich>
              </c:tx>
              <c:showLegendKey val="0"/>
              <c:showVal val="1"/>
              <c:showCatName val="0"/>
              <c:showSerName val="0"/>
              <c:showPercent val="0"/>
              <c:showBubbleSize val="0"/>
            </c:dLbl>
            <c:dLbl>
              <c:idx val="16"/>
              <c:tx>
                <c:rich>
                  <a:bodyPr/>
                  <a:lstStyle/>
                  <a:p>
                    <a:r>
                      <a:t>3.3</a:t>
                    </a:r>
                  </a:p>
                </c:rich>
              </c:tx>
              <c:showLegendKey val="0"/>
              <c:showVal val="1"/>
              <c:showCatName val="0"/>
              <c:showSerName val="0"/>
              <c:showPercent val="0"/>
              <c:showBubbleSize val="0"/>
            </c:dLbl>
            <c:dLbl>
              <c:idx val="17"/>
              <c:tx>
                <c:rich>
                  <a:bodyPr/>
                  <a:lstStyle/>
                  <a:p>
                    <a:r>
                      <a:t>3.09</a:t>
                    </a:r>
                  </a:p>
                </c:rich>
              </c:tx>
              <c:showLegendKey val="0"/>
              <c:showVal val="1"/>
              <c:showCatName val="0"/>
              <c:showSerName val="0"/>
              <c:showPercent val="0"/>
              <c:showBubbleSize val="0"/>
            </c:dLbl>
            <c:dLbl>
              <c:idx val="18"/>
              <c:tx>
                <c:rich>
                  <a:bodyPr/>
                  <a:lstStyle/>
                  <a:p>
                    <a:r>
                      <a:t>2.54</a:t>
                    </a:r>
                  </a:p>
                </c:rich>
              </c:tx>
              <c:showLegendKey val="0"/>
              <c:showVal val="1"/>
              <c:showCatName val="0"/>
              <c:showSerName val="0"/>
              <c:showPercent val="0"/>
              <c:showBubbleSize val="0"/>
            </c:dLbl>
            <c:dLbl>
              <c:idx val="19"/>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Galbani Mozzarella Piece Sachet 1X125Gr 1P</c:v>
                </c:pt>
                <c:pt idx="6">
                  <c:v>President Camembert Lait Pasteurise Boite 1X250Gr 1P</c:v>
                </c:pt>
                <c:pt idx="7">
                  <c:v>Salakis Assimile Feta Autre Boite 1X200Gr 1P</c:v>
                </c:pt>
                <c:pt idx="8">
                  <c:v>Salakis Assimile Feta Des Herbes De Provence Bocal 1X300Gr 1P</c:v>
                </c:pt>
                <c:pt idx="9">
                  <c:v>President Coulommiers Lait Pasteurise Boite 1X350Gr 1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pt idx="15">
                  <c:v>Caprice Des Dieux Specialite Ovale Boite 1X300Gr 1P</c:v>
                </c:pt>
                <c:pt idx="16">
                  <c:v>Caprice Des Dieux Specialite Ovale Boite 1X200Gr 1P</c:v>
                </c:pt>
                <c:pt idx="17">
                  <c:v>Coeur De Lion Coulommiers Lait Pasteurise Boite 1X350Gr 1P</c:v>
                </c:pt>
                <c:pt idx="18">
                  <c:v>Le Rustique Camembert Lait Pasteurise Boite 1X250Gr 1P</c:v>
                </c:pt>
                <c:pt idx="19">
                  <c:v>Coeur De Lion Camembert Lait Pasteurise Boite 1X250Gr 1P</c:v>
                </c:pt>
              </c:strCache>
            </c:strRef>
          </c:cat>
          <c:val>
            <c:numRef>
              <c:f>Sheet1!$B$2:$B$21</c:f>
              <c:numCache>
                <c:formatCode>General</c:formatCode>
                <c:ptCount val="20"/>
                <c:pt idx="0">
                  <c:v>2.61</c:v>
                </c:pt>
                <c:pt idx="1">
                  <c:v>4.42</c:v>
                </c:pt>
                <c:pt idx="2">
                  <c:v>4.09</c:v>
                </c:pt>
                <c:pt idx="3">
                  <c:v>4.82</c:v>
                </c:pt>
                <c:pt idx="4">
                  <c:v>2.78</c:v>
                </c:pt>
                <c:pt idx="5">
                  <c:v>1.61</c:v>
                </c:pt>
                <c:pt idx="6">
                  <c:v>2.06</c:v>
                </c:pt>
                <c:pt idx="7">
                  <c:v>3.06</c:v>
                </c:pt>
                <c:pt idx="8">
                  <c:v>3.64</c:v>
                </c:pt>
                <c:pt idx="9">
                  <c:v>2.98</c:v>
                </c:pt>
                <c:pt idx="10">
                  <c:v>3.22</c:v>
                </c:pt>
                <c:pt idx="11">
                  <c:v>1.69</c:v>
                </c:pt>
                <c:pt idx="12">
                  <c:v>2.34</c:v>
                </c:pt>
                <c:pt idx="13">
                  <c:v>2.2</c:v>
                </c:pt>
                <c:pt idx="14">
                  <c:v>2.8</c:v>
                </c:pt>
                <c:pt idx="15">
                  <c:v>3.82</c:v>
                </c:pt>
                <c:pt idx="16">
                  <c:v>3.3</c:v>
                </c:pt>
                <c:pt idx="17">
                  <c:v>3.09</c:v>
                </c:pt>
                <c:pt idx="18">
                  <c:v>2.54</c:v>
                </c:pt>
                <c:pt idx="19">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4.76</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9</a:t>
                    </a:r>
                  </a:p>
                </c:rich>
              </c:tx>
              <c:showLegendKey val="0"/>
              <c:showVal val="1"/>
              <c:showCatName val="0"/>
              <c:showSerName val="0"/>
              <c:showPercent val="0"/>
              <c:showBubbleSize val="0"/>
            </c:dLbl>
            <c:dLbl>
              <c:idx val="6"/>
              <c:tx>
                <c:rich>
                  <a:bodyPr/>
                  <a:lstStyle/>
                  <a:p>
                    <a:r>
                      <a:t>2.83</a:t>
                    </a:r>
                  </a:p>
                </c:rich>
              </c:tx>
              <c:showLegendKey val="0"/>
              <c:showVal val="1"/>
              <c:showCatName val="0"/>
              <c:showSerName val="0"/>
              <c:showPercent val="0"/>
              <c:showBubbleSize val="0"/>
            </c:dLbl>
            <c:dLbl>
              <c:idx val="7"/>
              <c:tx>
                <c:rich>
                  <a:bodyPr/>
                  <a:lstStyle/>
                  <a:p>
                    <a:r>
                      <a:t>3.32</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4.39</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59</a:t>
                    </a:r>
                  </a:p>
                </c:rich>
              </c:tx>
              <c:showLegendKey val="0"/>
              <c:showVal val="1"/>
              <c:showCatName val="0"/>
              <c:showSerName val="0"/>
              <c:showPercent val="0"/>
              <c:showBubbleSize val="0"/>
            </c:dLbl>
            <c:dLbl>
              <c:idx val="14"/>
              <c:tx>
                <c:rich>
                  <a:bodyPr/>
                  <a:lstStyle/>
                  <a:p>
                    <a:r>
                      <a:t>2.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MDD MDD STD APERITIF APERITIF 1 CT X 100GR</c:v>
                </c:pt>
                <c:pt idx="6">
                  <c:v>Les Mousquetaires Paturages Specialite Jambon Et Fromage Boite 1X100Gr 1P</c:v>
                </c:pt>
                <c:pt idx="7">
                  <c:v>Mdd Std Queso De Cabra / Iberico Manchego Boite 1X150Gr 3P</c:v>
                </c:pt>
                <c:pt idx="8">
                  <c:v>Les Mousquetaires Paturages Fromage De Chevre Boite 1X200Gr 10P</c:v>
                </c:pt>
                <c:pt idx="9">
                  <c:v>MDD MDD STD APERITIF APERITIF 1 CT X 55GR</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St Moret Billes Fromage Frais Bille Figue Boite 1X100Gr 24P</c:v>
                </c:pt>
                <c:pt idx="14">
                  <c:v>Aperivrais Edition Limitee Saison Fromage Frais Bouchee Assortis 1X100Gr 20P</c:v>
                </c:pt>
              </c:strCache>
            </c:strRef>
          </c:cat>
          <c:val>
            <c:numRef>
              <c:f>Sheet1!$B$2:$B$16</c:f>
              <c:numCache>
                <c:formatCode>General</c:formatCode>
                <c:ptCount val="15"/>
                <c:pt idx="0">
                  <c:v>4.37</c:v>
                </c:pt>
                <c:pt idx="1">
                  <c:v>4.39</c:v>
                </c:pt>
                <c:pt idx="2">
                  <c:v>4.76</c:v>
                </c:pt>
                <c:pt idx="3">
                  <c:v>4.41</c:v>
                </c:pt>
                <c:pt idx="4">
                  <c:v>3.62</c:v>
                </c:pt>
                <c:pt idx="5">
                  <c:v>2.89</c:v>
                </c:pt>
                <c:pt idx="6">
                  <c:v>2.83</c:v>
                </c:pt>
                <c:pt idx="7">
                  <c:v>3.32</c:v>
                </c:pt>
                <c:pt idx="8">
                  <c:v>2.2</c:v>
                </c:pt>
                <c:pt idx="9">
                  <c:v>4.39</c:v>
                </c:pt>
                <c:pt idx="10">
                  <c:v>2.2</c:v>
                </c:pt>
                <c:pt idx="11">
                  <c:v>2.18</c:v>
                </c:pt>
                <c:pt idx="12">
                  <c:v>2.22</c:v>
                </c:pt>
                <c:pt idx="13">
                  <c:v>2.59</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showLegendKey val="0"/>
              <c:showVal val="1"/>
              <c:showCatName val="0"/>
              <c:showSerName val="0"/>
              <c:showPercent val="0"/>
              <c:showBubbleSize val="0"/>
            </c:dLbl>
            <c:dLbl>
              <c:idx val="1"/>
              <c:tx>
                <c:rich>
                  <a:bodyPr/>
                  <a:lstStyle/>
                  <a:p>
                    <a:r>
                      <a:t>4.51</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4.46</a:t>
                    </a:r>
                  </a:p>
                </c:rich>
              </c:tx>
              <c:showLegendKey val="0"/>
              <c:showVal val="1"/>
              <c:showCatName val="0"/>
              <c:showSerName val="0"/>
              <c:showPercent val="0"/>
              <c:showBubbleSize val="0"/>
            </c:dLbl>
            <c:dLbl>
              <c:idx val="5"/>
              <c:tx>
                <c:rich>
                  <a:bodyPr/>
                  <a:lstStyle/>
                  <a:p>
                    <a:r>
                      <a:t>3.14</a:t>
                    </a:r>
                  </a:p>
                </c:rich>
              </c:tx>
              <c:showLegendKey val="0"/>
              <c:showVal val="1"/>
              <c:showCatName val="0"/>
              <c:showSerName val="0"/>
              <c:showPercent val="0"/>
              <c:showBubbleSize val="0"/>
            </c:dLbl>
            <c:dLbl>
              <c:idx val="6"/>
              <c:tx>
                <c:rich>
                  <a:bodyPr/>
                  <a:lstStyle/>
                  <a:p>
                    <a:r>
                      <a:t>2.34</a:t>
                    </a:r>
                  </a:p>
                </c:rich>
              </c:tx>
              <c:showLegendKey val="0"/>
              <c:showVal val="1"/>
              <c:showCatName val="0"/>
              <c:showSerName val="0"/>
              <c:showPercent val="0"/>
              <c:showBubbleSize val="0"/>
            </c:dLbl>
            <c:dLbl>
              <c:idx val="7"/>
              <c:tx>
                <c:rich>
                  <a:bodyPr/>
                  <a:lstStyle/>
                  <a:p>
                    <a:r>
                      <a:t>2.29</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73</a:t>
                    </a:r>
                  </a:p>
                </c:rich>
              </c:tx>
              <c:showLegendKey val="0"/>
              <c:showVal val="1"/>
              <c:showCatName val="0"/>
              <c:showSerName val="0"/>
              <c:showPercent val="0"/>
              <c:showBubbleSize val="0"/>
            </c:dLbl>
            <c:dLbl>
              <c:idx val="10"/>
              <c:tx>
                <c:rich>
                  <a:bodyPr/>
                  <a:lstStyle/>
                  <a:p>
                    <a:r>
                      <a:t>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MDD MDD STD APERITIF APERITIF 1 CT X 100GR</c:v>
                </c:pt>
                <c:pt idx="6">
                  <c:v>Aperivrais Saveurs De Provence Fromage Frais Bouchee Assortis 1X100Gr 20P</c:v>
                </c:pt>
                <c:pt idx="7">
                  <c:v>Aperivrais Saveurs D'Italie Fromage Frais Bouchee Epice Herbe Et Oignon 1X100Gr 20P</c:v>
                </c:pt>
                <c:pt idx="8">
                  <c:v>Aperivrais Ail Et Fines Herbes Fromage Frais Bouchee Afh 1X100Gr 20P</c:v>
                </c:pt>
                <c:pt idx="9">
                  <c:v>St Moret Billes Fromage Frais Bille Figue Boite 1X100Gr 24P</c:v>
                </c:pt>
                <c:pt idx="10">
                  <c:v>St Moret Billes Fromage Frais Bille Oignon Boite 1X100Gr 24P</c:v>
                </c:pt>
              </c:strCache>
            </c:strRef>
          </c:cat>
          <c:val>
            <c:numRef>
              <c:f>Sheet1!$B$2:$B$12</c:f>
              <c:numCache>
                <c:formatCode>General</c:formatCode>
                <c:ptCount val="11"/>
                <c:pt idx="0">
                  <c:v>4.56</c:v>
                </c:pt>
                <c:pt idx="1">
                  <c:v>4.51</c:v>
                </c:pt>
                <c:pt idx="2">
                  <c:v>4.73</c:v>
                </c:pt>
                <c:pt idx="3">
                  <c:v>3.66</c:v>
                </c:pt>
                <c:pt idx="4">
                  <c:v>4.46</c:v>
                </c:pt>
                <c:pt idx="5">
                  <c:v>3.14</c:v>
                </c:pt>
                <c:pt idx="6">
                  <c:v>2.34</c:v>
                </c:pt>
                <c:pt idx="7">
                  <c:v>2.29</c:v>
                </c:pt>
                <c:pt idx="8">
                  <c:v>2.12</c:v>
                </c:pt>
                <c:pt idx="9">
                  <c:v>2.73</c:v>
                </c:pt>
                <c:pt idx="10">
                  <c:v>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showLegendKey val="0"/>
              <c:showVal val="1"/>
              <c:showCatName val="0"/>
              <c:showSerName val="0"/>
              <c:showPercent val="0"/>
              <c:showBubbleSize val="0"/>
            </c:dLbl>
            <c:dLbl>
              <c:idx val="1"/>
              <c:tx>
                <c:rich>
                  <a:bodyPr/>
                  <a:lstStyle/>
                  <a:p>
                    <a:r>
                      <a:t>4.49</a:t>
                    </a:r>
                  </a:p>
                </c:rich>
              </c:tx>
              <c:showLegendKey val="0"/>
              <c:showVal val="1"/>
              <c:showCatName val="0"/>
              <c:showSerName val="0"/>
              <c:showPercent val="0"/>
              <c:showBubbleSize val="0"/>
            </c:dLbl>
            <c:dLbl>
              <c:idx val="2"/>
              <c:tx>
                <c:rich>
                  <a:bodyPr/>
                  <a:lstStyle/>
                  <a:p>
                    <a:r>
                      <a:t>4.94</a:t>
                    </a:r>
                  </a:p>
                </c:rich>
              </c:tx>
              <c:showLegendKey val="0"/>
              <c:showVal val="1"/>
              <c:showCatName val="0"/>
              <c:showSerName val="0"/>
              <c:showPercent val="0"/>
              <c:showBubbleSize val="0"/>
            </c:dLbl>
            <c:dLbl>
              <c:idx val="3"/>
              <c:tx>
                <c:rich>
                  <a:bodyPr/>
                  <a:lstStyle/>
                  <a:p>
                    <a:r>
                      <a:t>4.53</a:t>
                    </a:r>
                  </a:p>
                </c:rich>
              </c:tx>
              <c:showLegendKey val="0"/>
              <c:showVal val="1"/>
              <c:showCatName val="0"/>
              <c:showSerName val="0"/>
              <c:showPercent val="0"/>
              <c:showBubbleSize val="0"/>
            </c:dLbl>
            <c:dLbl>
              <c:idx val="4"/>
              <c:tx>
                <c:rich>
                  <a:bodyPr/>
                  <a:lstStyle/>
                  <a:p>
                    <a:r>
                      <a:t>3.67</a:t>
                    </a:r>
                  </a:p>
                </c:rich>
              </c:tx>
              <c:showLegendKey val="0"/>
              <c:showVal val="1"/>
              <c:showCatName val="0"/>
              <c:showSerName val="0"/>
              <c:showPercent val="0"/>
              <c:showBubbleSize val="0"/>
            </c:dLbl>
            <c:dLbl>
              <c:idx val="5"/>
              <c:tx>
                <c:rich>
                  <a:bodyPr/>
                  <a:lstStyle/>
                  <a:p>
                    <a:r>
                      <a:t>2.83</a:t>
                    </a:r>
                  </a:p>
                </c:rich>
              </c:tx>
              <c:showLegendKey val="0"/>
              <c:showVal val="1"/>
              <c:showCatName val="0"/>
              <c:showSerName val="0"/>
              <c:showPercent val="0"/>
              <c:showBubbleSize val="0"/>
            </c:dLbl>
            <c:dLbl>
              <c:idx val="6"/>
              <c:tx>
                <c:rich>
                  <a:bodyPr/>
                  <a:lstStyle/>
                  <a:p>
                    <a:r>
                      <a:t>2.21</a:t>
                    </a:r>
                  </a:p>
                </c:rich>
              </c:tx>
              <c:showLegendKey val="0"/>
              <c:showVal val="1"/>
              <c:showCatName val="0"/>
              <c:showSerName val="0"/>
              <c:showPercent val="0"/>
              <c:showBubbleSize val="0"/>
            </c:dLbl>
            <c:dLbl>
              <c:idx val="7"/>
              <c:tx>
                <c:rich>
                  <a:bodyPr/>
                  <a:lstStyle/>
                  <a:p>
                    <a:r>
                      <a:t>2.16</a:t>
                    </a:r>
                  </a:p>
                </c:rich>
              </c:tx>
              <c:showLegendKey val="0"/>
              <c:showVal val="1"/>
              <c:showCatName val="0"/>
              <c:showSerName val="0"/>
              <c:showPercent val="0"/>
              <c:showBubbleSize val="0"/>
            </c:dLbl>
            <c:dLbl>
              <c:idx val="8"/>
              <c:tx>
                <c:rich>
                  <a:bodyPr/>
                  <a:lstStyle/>
                  <a:p>
                    <a:r>
                      <a:t>2.17</a:t>
                    </a:r>
                  </a:p>
                </c:rich>
              </c:tx>
              <c:showLegendKey val="0"/>
              <c:showVal val="1"/>
              <c:showCatName val="0"/>
              <c:showSerName val="0"/>
              <c:showPercent val="0"/>
              <c:showBubbleSize val="0"/>
            </c:dLbl>
            <c:dLbl>
              <c:idx val="9"/>
              <c:tx>
                <c:rich>
                  <a:bodyPr/>
                  <a:lstStyle/>
                  <a:p>
                    <a:r>
                      <a:t>2.64</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dLbl>
              <c:idx val="11"/>
              <c:tx>
                <c:rich>
                  <a:bodyPr/>
                  <a:lstStyle/>
                  <a:p>
                    <a:r>
                      <a:t>2.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Les Mousquetaires Paturages Specialite Jambon Et Fromage Boite 1X100Gr 1P</c:v>
                </c:pt>
                <c:pt idx="6">
                  <c:v>Les Mousquetaires Paturages Fromage De Chevre Boite 1X200Gr 10P</c:v>
                </c:pt>
                <c:pt idx="7">
                  <c:v>Aperivrais Saveurs De Provence Fromage Frais Bouchee Assortis 1X100Gr 20P</c:v>
                </c:pt>
                <c:pt idx="8">
                  <c:v>Aperivrais Saveurs D'Italie Fromage Frais Bouchee Epice Herbe Et Oignon 1X100Gr 20P</c:v>
                </c:pt>
                <c:pt idx="9">
                  <c:v>St Moret Billes Fromage Frais Bille Figue Boite 1X100Gr 24P</c:v>
                </c:pt>
                <c:pt idx="10">
                  <c:v>Aperivrais Ail Et Fines Herbes Fromage Frais Bouchee Afh 1X100Gr 20P</c:v>
                </c:pt>
                <c:pt idx="11">
                  <c:v>St Moret Billes Fromage Frais Bille Oignon Boite 1X100Gr 24P</c:v>
                </c:pt>
              </c:strCache>
            </c:strRef>
          </c:cat>
          <c:val>
            <c:numRef>
              <c:f>Sheet1!$B$2:$B$13</c:f>
              <c:numCache>
                <c:formatCode>General</c:formatCode>
                <c:ptCount val="12"/>
                <c:pt idx="0">
                  <c:v>4.32</c:v>
                </c:pt>
                <c:pt idx="1">
                  <c:v>4.49</c:v>
                </c:pt>
                <c:pt idx="2">
                  <c:v>4.94</c:v>
                </c:pt>
                <c:pt idx="3">
                  <c:v>4.53</c:v>
                </c:pt>
                <c:pt idx="4">
                  <c:v>3.67</c:v>
                </c:pt>
                <c:pt idx="5">
                  <c:v>2.83</c:v>
                </c:pt>
                <c:pt idx="6">
                  <c:v>2.21</c:v>
                </c:pt>
                <c:pt idx="7">
                  <c:v>2.16</c:v>
                </c:pt>
                <c:pt idx="8">
                  <c:v>2.17</c:v>
                </c:pt>
                <c:pt idx="9">
                  <c:v>2.64</c:v>
                </c:pt>
                <c:pt idx="10">
                  <c:v>2.29</c:v>
                </c:pt>
                <c:pt idx="11">
                  <c:v>2.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73</a:t>
                    </a:r>
                  </a:p>
                </c:rich>
              </c:tx>
              <c:dLblPos val="t"/>
              <c:showLegendKey val="0"/>
              <c:showVal val="1"/>
              <c:showCatName val="0"/>
              <c:showSerName val="0"/>
              <c:showPercent val="0"/>
              <c:showBubbleSize val="0"/>
            </c:dLbl>
            <c:dLbl>
              <c:idx val="8"/>
              <c:tx>
                <c:rich>
                  <a:bodyPr/>
                  <a:lstStyle/>
                  <a:p>
                    <a:r>
                      <a:t>3.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strCache>
            </c:strRef>
          </c:cat>
          <c:val>
            <c:numRef>
              <c:f>Sheet1!$B$2:$B$10</c:f>
              <c:numCache>
                <c:formatCode>General</c:formatCode>
                <c:ptCount val="9"/>
                <c:pt idx="0">
                  <c:v>2.93</c:v>
                </c:pt>
                <c:pt idx="1">
                  <c:v>5.51</c:v>
                </c:pt>
                <c:pt idx="2">
                  <c:v>3.74</c:v>
                </c:pt>
                <c:pt idx="3">
                  <c:v>2.21</c:v>
                </c:pt>
                <c:pt idx="4">
                  <c:v>2.42</c:v>
                </c:pt>
                <c:pt idx="5">
                  <c:v>3.93</c:v>
                </c:pt>
                <c:pt idx="6">
                  <c:v>2.41</c:v>
                </c:pt>
                <c:pt idx="7">
                  <c:v>2.73</c:v>
                </c:pt>
                <c:pt idx="8">
                  <c:v>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3.59</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dLbl>
              <c:idx val="7"/>
              <c:tx>
                <c:rich>
                  <a:bodyPr/>
                  <a:lstStyle/>
                  <a:p>
                    <a:r>
                      <a:t>2.28</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3.3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Ficello Fromage Fondu Ferme Emmental Sachet 1X168Gr 8P</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strCache>
            </c:strRef>
          </c:cat>
          <c:val>
            <c:numRef>
              <c:f>Sheet1!$B$2:$B$16</c:f>
              <c:numCache>
                <c:formatCode>General</c:formatCode>
                <c:ptCount val="15"/>
                <c:pt idx="0">
                  <c:v>4.45</c:v>
                </c:pt>
                <c:pt idx="1">
                  <c:v>4.86</c:v>
                </c:pt>
                <c:pt idx="2">
                  <c:v>2.51</c:v>
                </c:pt>
                <c:pt idx="3">
                  <c:v>4.03</c:v>
                </c:pt>
                <c:pt idx="4">
                  <c:v>2.92</c:v>
                </c:pt>
                <c:pt idx="5">
                  <c:v>3.59</c:v>
                </c:pt>
                <c:pt idx="6">
                  <c:v>2.3</c:v>
                </c:pt>
                <c:pt idx="7">
                  <c:v>2.28</c:v>
                </c:pt>
                <c:pt idx="8">
                  <c:v>2.11</c:v>
                </c:pt>
                <c:pt idx="9">
                  <c:v>3.39</c:v>
                </c:pt>
                <c:pt idx="10">
                  <c:v>2.57</c:v>
                </c:pt>
                <c:pt idx="11">
                  <c:v>2.03</c:v>
                </c:pt>
                <c:pt idx="12">
                  <c:v>1.87</c:v>
                </c:pt>
                <c:pt idx="13">
                  <c:v>2.47</c:v>
                </c:pt>
                <c:pt idx="14">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14</a:t>
                    </a:r>
                  </a:p>
                </c:rich>
              </c:tx>
              <c:showLegendKey val="0"/>
              <c:showVal val="1"/>
              <c:showCatName val="0"/>
              <c:showSerName val="0"/>
              <c:showPercent val="0"/>
              <c:showBubbleSize val="0"/>
            </c:dLbl>
            <c:dLbl>
              <c:idx val="10"/>
              <c:tx>
                <c:rich>
                  <a:bodyPr/>
                  <a:lstStyle/>
                  <a:p>
                    <a:r>
                      <a:t>2.77</a:t>
                    </a:r>
                  </a:p>
                </c:rich>
              </c:tx>
              <c:showLegendKey val="0"/>
              <c:showVal val="1"/>
              <c:showCatName val="0"/>
              <c:showSerName val="0"/>
              <c:showPercent val="0"/>
              <c:showBubbleSize val="0"/>
            </c:dLbl>
            <c:dLbl>
              <c:idx val="11"/>
              <c:tx>
                <c:rich>
                  <a:bodyPr/>
                  <a:lstStyle/>
                  <a:p>
                    <a:r>
                      <a:t>3.56</a:t>
                    </a:r>
                  </a:p>
                </c:rich>
              </c:tx>
              <c:showLegendKey val="0"/>
              <c:showVal val="1"/>
              <c:showCatName val="0"/>
              <c:showSerName val="0"/>
              <c:showPercent val="0"/>
              <c:showBubbleSize val="0"/>
            </c:dLbl>
            <c:dLbl>
              <c:idx val="12"/>
              <c:tx>
                <c:rich>
                  <a:bodyPr/>
                  <a:lstStyle/>
                  <a:p>
                    <a:r>
                      <a:t>1.21</a:t>
                    </a:r>
                  </a:p>
                </c:rich>
              </c:tx>
              <c:showLegendKey val="0"/>
              <c:showVal val="1"/>
              <c:showCatName val="0"/>
              <c:showSerName val="0"/>
              <c:showPercent val="0"/>
              <c:showBubbleSize val="0"/>
            </c:dLbl>
            <c:dLbl>
              <c:idx val="13"/>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MDD MDD STD SOFT CHEESE ENFANT 1 CT X 240GR</c:v>
                </c:pt>
                <c:pt idx="10">
                  <c:v>MDD MDD STD SOFT CHEESE ENFANT 1 CT X 400GR</c:v>
                </c:pt>
                <c:pt idx="11">
                  <c:v>MDD MDD STD SOFT CHEESE ENFANT 1 CT X 533GR</c:v>
                </c:pt>
                <c:pt idx="12">
                  <c:v>MDD MDD STD SOFT CHEESE ENFANT 1 CT X 140GR</c:v>
                </c:pt>
                <c:pt idx="13">
                  <c:v>MDD MDD STD SOFT CHEESE ENFANT 1 CT X 280GR</c:v>
                </c:pt>
              </c:strCache>
            </c:strRef>
          </c:cat>
          <c:val>
            <c:numRef>
              <c:f>Sheet1!$B$2:$B$15</c:f>
              <c:numCache>
                <c:formatCode>General</c:formatCode>
                <c:ptCount val="14"/>
                <c:pt idx="0">
                  <c:v>2.61</c:v>
                </c:pt>
                <c:pt idx="1">
                  <c:v>4.42</c:v>
                </c:pt>
                <c:pt idx="2">
                  <c:v>4.09</c:v>
                </c:pt>
                <c:pt idx="3">
                  <c:v>4.82</c:v>
                </c:pt>
                <c:pt idx="4">
                  <c:v>2.78</c:v>
                </c:pt>
                <c:pt idx="5">
                  <c:v>3.49</c:v>
                </c:pt>
                <c:pt idx="6">
                  <c:v>2.48</c:v>
                </c:pt>
                <c:pt idx="7">
                  <c:v>2.31</c:v>
                </c:pt>
                <c:pt idx="8">
                  <c:v>2.12</c:v>
                </c:pt>
                <c:pt idx="9">
                  <c:v>2.14</c:v>
                </c:pt>
                <c:pt idx="10">
                  <c:v>2.77</c:v>
                </c:pt>
                <c:pt idx="11">
                  <c:v>3.56</c:v>
                </c:pt>
                <c:pt idx="12">
                  <c:v>1.21</c:v>
                </c:pt>
                <c:pt idx="13">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65</a:t>
                    </a:r>
                  </a:p>
                </c:rich>
              </c:tx>
              <c:showLegendKey val="0"/>
              <c:showVal val="1"/>
              <c:showCatName val="0"/>
              <c:showSerName val="0"/>
              <c:showPercent val="0"/>
              <c:showBubbleSize val="0"/>
            </c:dLbl>
            <c:dLbl>
              <c:idx val="6"/>
              <c:tx>
                <c:rich>
                  <a:bodyPr/>
                  <a:lstStyle/>
                  <a:p>
                    <a:r>
                      <a:t>2.23</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1.87</a:t>
                    </a:r>
                  </a:p>
                </c:rich>
              </c:tx>
              <c:showLegendKey val="0"/>
              <c:showVal val="1"/>
              <c:showCatName val="0"/>
              <c:showSerName val="0"/>
              <c:showPercent val="0"/>
              <c:showBubbleSize val="0"/>
            </c:dLbl>
            <c:dLbl>
              <c:idx val="9"/>
              <c:tx>
                <c:rich>
                  <a:bodyPr/>
                  <a:lstStyle/>
                  <a:p>
                    <a:r>
                      <a:t>2.68</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Ficello Fromage Fondu Ferme Sachet 1X168Gr 8P</c:v>
                </c:pt>
                <c:pt idx="6">
                  <c:v>Ficello Fromage Fondu Ferme Sachet 1X84Gr 4P</c:v>
                </c:pt>
                <c:pt idx="7">
                  <c:v>Ficello Fromage Fondu Ferme Emmental Sachet 1X84Gr 4P</c:v>
                </c:pt>
                <c:pt idx="8">
                  <c:v>Les Mousquetaires Paturages Fromage Blanc Frais Carre 1X216Gr 12P</c:v>
                </c:pt>
                <c:pt idx="9">
                  <c:v>Les Mousquetaires Paturages Fromage Fondu Boite Ronde 1X400Gr 24P</c:v>
                </c:pt>
                <c:pt idx="10">
                  <c:v>Les Mousquetaires Paturages Fromage Fondu Boite Ronde 1X200Gr 12P</c:v>
                </c:pt>
                <c:pt idx="11">
                  <c:v>Les Mousquetaires Paturages Fromage Blanc Frais Carre 1X144Gr 8P</c:v>
                </c:pt>
              </c:strCache>
            </c:strRef>
          </c:cat>
          <c:val>
            <c:numRef>
              <c:f>Sheet1!$B$2:$B$13</c:f>
              <c:numCache>
                <c:formatCode>General</c:formatCode>
                <c:ptCount val="12"/>
                <c:pt idx="0">
                  <c:v>4.6</c:v>
                </c:pt>
                <c:pt idx="1">
                  <c:v>4.91</c:v>
                </c:pt>
                <c:pt idx="2">
                  <c:v>2.56</c:v>
                </c:pt>
                <c:pt idx="3">
                  <c:v>4.21</c:v>
                </c:pt>
                <c:pt idx="4">
                  <c:v>2.49</c:v>
                </c:pt>
                <c:pt idx="5">
                  <c:v>3.65</c:v>
                </c:pt>
                <c:pt idx="6">
                  <c:v>2.23</c:v>
                </c:pt>
                <c:pt idx="7">
                  <c:v>2.34</c:v>
                </c:pt>
                <c:pt idx="8">
                  <c:v>1.87</c:v>
                </c:pt>
                <c:pt idx="9">
                  <c:v>2.68</c:v>
                </c:pt>
                <c:pt idx="10">
                  <c:v>1.72</c:v>
                </c:pt>
                <c:pt idx="11">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9</a:t>
                    </a:r>
                  </a:p>
                </c:rich>
              </c:tx>
              <c:showLegendKey val="0"/>
              <c:showVal val="1"/>
              <c:showCatName val="0"/>
              <c:showSerName val="0"/>
              <c:showPercent val="0"/>
              <c:showBubbleSize val="0"/>
            </c:dLbl>
            <c:dLbl>
              <c:idx val="18"/>
              <c:tx>
                <c:rich>
                  <a:bodyPr/>
                  <a:lstStyle/>
                  <a:p>
                    <a:r>
                      <a:t>2.25</a:t>
                    </a:r>
                  </a:p>
                </c:rich>
              </c:tx>
              <c:showLegendKey val="0"/>
              <c:showVal val="1"/>
              <c:showCatName val="0"/>
              <c:showSerName val="0"/>
              <c:showPercent val="0"/>
              <c:showBubbleSize val="0"/>
            </c:dLbl>
            <c:dLbl>
              <c:idx val="19"/>
              <c:tx>
                <c:rich>
                  <a:bodyPr/>
                  <a:lstStyle/>
                  <a:p>
                    <a:r>
                      <a:t>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Tartare Fromage Frais A Tartiner Afh 1X250Gr 1P</c:v>
                </c:pt>
                <c:pt idx="18">
                  <c:v>St Moret Fromage Frais A Tartiner 1X180Gr 9P</c:v>
                </c:pt>
                <c:pt idx="19">
                  <c:v>St Moret Fromage Frais A Tartiner Boite 1X4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9</c:v>
                </c:pt>
                <c:pt idx="18">
                  <c:v>2.25</c:v>
                </c:pt>
                <c:pt idx="19">
                  <c:v>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3.01</a:t>
                    </a:r>
                  </a:p>
                </c:rich>
              </c:tx>
              <c:showLegendKey val="0"/>
              <c:showVal val="1"/>
              <c:showCatName val="0"/>
              <c:showSerName val="0"/>
              <c:showPercent val="0"/>
              <c:showBubbleSize val="0"/>
            </c:dLbl>
            <c:dLbl>
              <c:idx val="17"/>
              <c:tx>
                <c:rich>
                  <a:bodyPr/>
                  <a:lstStyle/>
                  <a:p>
                    <a:r>
                      <a:t>2.46</a:t>
                    </a:r>
                  </a:p>
                </c:rich>
              </c:tx>
              <c:showLegendKey val="0"/>
              <c:showVal val="1"/>
              <c:showCatName val="0"/>
              <c:showSerName val="0"/>
              <c:showPercent val="0"/>
              <c:showBubbleSize val="0"/>
            </c:dLbl>
            <c:dLbl>
              <c:idx val="18"/>
              <c:tx>
                <c:rich>
                  <a:bodyPr/>
                  <a:lstStyle/>
                  <a:p>
                    <a:r>
                      <a:t>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Tartare Fromage Frais A Tartiner Afh 1X250Gr 1P</c:v>
                </c:pt>
                <c:pt idx="17">
                  <c:v>St Moret Fromage Frais A Tartiner 1X180Gr 9P</c:v>
                </c:pt>
                <c:pt idx="18">
                  <c:v>Carre Frais Fromage A Tartiner 1X200Gr 8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3.01</c:v>
                </c:pt>
                <c:pt idx="17">
                  <c:v>2.46</c:v>
                </c:pt>
                <c:pt idx="18">
                  <c:v>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82</a:t>
                    </a:r>
                  </a:p>
                </c:rich>
              </c:tx>
              <c:showLegendKey val="0"/>
              <c:showVal val="1"/>
              <c:showCatName val="0"/>
              <c:showSerName val="0"/>
              <c:showPercent val="0"/>
              <c:showBubbleSize val="0"/>
            </c:dLbl>
            <c:dLbl>
              <c:idx val="1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Tartare Fromage Frais A Tartiner Afh 1X250Gr 1P</c:v>
                </c:pt>
                <c:pt idx="19">
                  <c:v>St Moret Fromage Frais A Tartiner 1X180Gr 9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82</c:v>
                </c:pt>
                <c:pt idx="1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91</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3.5</a:t>
                    </a:r>
                  </a:p>
                </c:rich>
              </c:tx>
              <c:showLegendKey val="0"/>
              <c:showVal val="1"/>
              <c:showCatName val="0"/>
              <c:showSerName val="0"/>
              <c:showPercent val="0"/>
              <c:showBubbleSize val="0"/>
            </c:dLbl>
            <c:dLbl>
              <c:idx val="9"/>
              <c:tx>
                <c:rich>
                  <a:bodyPr/>
                  <a:lstStyle/>
                  <a:p>
                    <a:r>
                      <a:t>3.73</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Galbani Mozzarella Piece Sachet 1X375Gr 3P</c:v>
                </c:pt>
                <c:pt idx="8">
                  <c:v>Salakis Assimile Feta Des Herbes De Provence Bocal 1X300Gr 1P</c:v>
                </c:pt>
                <c:pt idx="9">
                  <c:v>Galbani Burrata Piece 1X1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2.91</c:v>
                </c:pt>
                <c:pt idx="7">
                  <c:v>3.64</c:v>
                </c:pt>
                <c:pt idx="8">
                  <c:v>3.5</c:v>
                </c:pt>
                <c:pt idx="9">
                  <c:v>3.73</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3.06</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2.59</a:t>
                    </a:r>
                  </a:p>
                </c:rich>
              </c:tx>
              <c:showLegendKey val="0"/>
              <c:showVal val="1"/>
              <c:showCatName val="0"/>
              <c:showSerName val="0"/>
              <c:showPercent val="0"/>
              <c:showBubbleSize val="0"/>
            </c:dLbl>
            <c:dLbl>
              <c:idx val="9"/>
              <c:tx>
                <c:rich>
                  <a:bodyPr/>
                  <a:lstStyle/>
                  <a:p>
                    <a:r>
                      <a:t>3.79</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8</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Salakis Assimile Feta Des Herbes De Provence Bocal 1X300Gr 1P</c:v>
                </c:pt>
                <c:pt idx="8">
                  <c:v>Galbani Mozzarella Bille 1X150Gr 20P</c:v>
                </c:pt>
                <c:pt idx="9">
                  <c:v>Galbani Mozzarella Piece Sachet 1X375Gr 3P</c:v>
                </c:pt>
                <c:pt idx="10">
                  <c:v>MDD MDD STD SOFT CHEESE SALADE 1 CT X 200GR</c:v>
                </c:pt>
                <c:pt idx="11">
                  <c:v>MDD MDD STD SOFT CHEESE SALADE 1 CT X 125GR</c:v>
                </c:pt>
                <c:pt idx="12">
                  <c:v>MDD MDD STD SOFT CHEESE SALADE 1 CT X 150GR</c:v>
                </c:pt>
                <c:pt idx="13">
                  <c:v>MDD MDD STD SOFT CHEESE SALADE 1 CT X 375GR</c:v>
                </c:pt>
                <c:pt idx="14">
                  <c:v>MDD MDD STD SOFT CHEESE SALADE 1 CT X 250GR</c:v>
                </c:pt>
              </c:strCache>
            </c:strRef>
          </c:cat>
          <c:val>
            <c:numRef>
              <c:f>Sheet1!$B$2:$B$16</c:f>
              <c:numCache>
                <c:formatCode>General</c:formatCode>
                <c:ptCount val="15"/>
                <c:pt idx="0">
                  <c:v>2.5</c:v>
                </c:pt>
                <c:pt idx="1">
                  <c:v>2.28</c:v>
                </c:pt>
                <c:pt idx="2">
                  <c:v>2.27</c:v>
                </c:pt>
                <c:pt idx="3">
                  <c:v>2.6</c:v>
                </c:pt>
                <c:pt idx="4">
                  <c:v>2.65</c:v>
                </c:pt>
                <c:pt idx="5">
                  <c:v>1.61</c:v>
                </c:pt>
                <c:pt idx="6">
                  <c:v>3.06</c:v>
                </c:pt>
                <c:pt idx="7">
                  <c:v>3.64</c:v>
                </c:pt>
                <c:pt idx="8">
                  <c:v>2.59</c:v>
                </c:pt>
                <c:pt idx="9">
                  <c:v>3.79</c:v>
                </c:pt>
                <c:pt idx="10">
                  <c:v>3.22</c:v>
                </c:pt>
                <c:pt idx="11">
                  <c:v>1.69</c:v>
                </c:pt>
                <c:pt idx="12">
                  <c:v>2.34</c:v>
                </c:pt>
                <c:pt idx="13">
                  <c:v>2.8</c:v>
                </c:pt>
                <c:pt idx="14">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2.89</a:t>
                    </a:r>
                  </a:p>
                </c:rich>
              </c:tx>
              <c:showLegendKey val="0"/>
              <c:showVal val="1"/>
              <c:showCatName val="0"/>
              <c:showSerName val="0"/>
              <c:showPercent val="0"/>
              <c:showBubbleSize val="0"/>
            </c:dLbl>
            <c:dLbl>
              <c:idx val="7"/>
              <c:tx>
                <c:rich>
                  <a:bodyPr/>
                  <a:lstStyle/>
                  <a:p>
                    <a:r>
                      <a:t>3.61</a:t>
                    </a:r>
                  </a:p>
                </c:rich>
              </c:tx>
              <c:showLegendKey val="0"/>
              <c:showVal val="1"/>
              <c:showCatName val="0"/>
              <c:showSerName val="0"/>
              <c:showPercent val="0"/>
              <c:showBubbleSize val="0"/>
            </c:dLbl>
            <c:dLbl>
              <c:idx val="8"/>
              <c:tx>
                <c:rich>
                  <a:bodyPr/>
                  <a:lstStyle/>
                  <a:p>
                    <a:r>
                      <a:t>3.88</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Salakis Assimile Feta Autre Boite 1X200Gr 1P</c:v>
                </c:pt>
                <c:pt idx="7">
                  <c:v>Galbani Mozzarella Piece Sachet 1X375Gr 3P</c:v>
                </c:pt>
                <c:pt idx="8">
                  <c:v>Galbani Burrata Piece 1X150Gr 1P</c:v>
                </c:pt>
                <c:pt idx="9">
                  <c:v>Salakis Assimile Feta Des Herbes De Provence Bocal 1X300Gr 1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strCache>
            </c:strRef>
          </c:cat>
          <c:val>
            <c:numRef>
              <c:f>Sheet1!$B$2:$B$16</c:f>
              <c:numCache>
                <c:formatCode>General</c:formatCode>
                <c:ptCount val="15"/>
                <c:pt idx="0">
                  <c:v>2.47</c:v>
                </c:pt>
                <c:pt idx="1">
                  <c:v>2.38</c:v>
                </c:pt>
                <c:pt idx="2">
                  <c:v>2.37</c:v>
                </c:pt>
                <c:pt idx="3">
                  <c:v>2.43</c:v>
                </c:pt>
                <c:pt idx="4">
                  <c:v>2.53</c:v>
                </c:pt>
                <c:pt idx="5">
                  <c:v>1.24</c:v>
                </c:pt>
                <c:pt idx="6">
                  <c:v>2.89</c:v>
                </c:pt>
                <c:pt idx="7">
                  <c:v>3.61</c:v>
                </c:pt>
                <c:pt idx="8">
                  <c:v>3.88</c:v>
                </c:pt>
                <c:pt idx="9">
                  <c:v>3.59</c:v>
                </c:pt>
                <c:pt idx="10">
                  <c:v>0.92</c:v>
                </c:pt>
                <c:pt idx="11">
                  <c:v>2.51</c:v>
                </c:pt>
                <c:pt idx="12">
                  <c:v>4.57</c:v>
                </c:pt>
                <c:pt idx="13">
                  <c:v>1.8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92</c:v>
                </c:pt>
                <c:pt idx="1">
                  <c:v>5.21</c:v>
                </c:pt>
                <c:pt idx="2">
                  <c:v>2.25</c:v>
                </c:pt>
                <c:pt idx="3">
                  <c:v>2.42</c:v>
                </c:pt>
                <c:pt idx="4">
                  <c:v>3.62</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4.86</c:v>
                </c:pt>
                <c:pt idx="1">
                  <c:v>4.03</c:v>
                </c:pt>
                <c:pt idx="2">
                  <c:v>2.65</c:v>
                </c:pt>
                <c:pt idx="3">
                  <c:v>3.03</c:v>
                </c:pt>
                <c:pt idx="4">
                  <c:v>2.49</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62</a:t>
                    </a:r>
                  </a:p>
                </c:rich>
              </c:tx>
              <c:showLegendKey val="0"/>
              <c:showVal val="1"/>
              <c:showCatName val="0"/>
              <c:showSerName val="0"/>
              <c:showPercent val="0"/>
              <c:showBubbleSize val="0"/>
            </c:dLbl>
            <c:dLbl>
              <c:idx val="3"/>
              <c:tx>
                <c:rich>
                  <a:bodyPr/>
                  <a:lstStyle/>
                  <a:p>
                    <a:r>
                      <a:t>2.41</a:t>
                    </a:r>
                  </a:p>
                </c:rich>
              </c:tx>
              <c:showLegendKey val="0"/>
              <c:showVal val="1"/>
              <c:showCatName val="0"/>
              <c:showSerName val="0"/>
              <c:showPercent val="0"/>
              <c:showBubbleSize val="0"/>
            </c:dLbl>
            <c:dLbl>
              <c:idx val="4"/>
              <c:tx>
                <c:rich>
                  <a:bodyPr/>
                  <a:lstStyle/>
                  <a:p>
                    <a:r>
                      <a:t>3.49</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Classique Fromage Frais A Tartiner Afh Boite 1X150Gr 1P</c:v>
                </c:pt>
                <c:pt idx="1">
                  <c:v>Boursin Classique Fromage Frais A Tartiner Afh 1X160Gr 10P</c:v>
                </c:pt>
                <c:pt idx="2">
                  <c:v>Boursin Aperitif Roules Fromage Frais Roule Afh Et Jambon Fume Boite 1X100Gr 20P</c:v>
                </c:pt>
                <c:pt idx="3">
                  <c:v>Boursin Salade &amp; Aperitif Fromage Frais Des Afh 1X120Gr 1P</c:v>
                </c:pt>
                <c:pt idx="4">
                  <c:v>Boursin Classique Fromage Frais A Tartiner Afh Boite 1X250Gr 1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27</c:v>
                </c:pt>
                <c:pt idx="1">
                  <c:v>2.53</c:v>
                </c:pt>
                <c:pt idx="2">
                  <c:v>3.62</c:v>
                </c:pt>
                <c:pt idx="3">
                  <c:v>2.41</c:v>
                </c:pt>
                <c:pt idx="4">
                  <c:v>3.49</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3.48</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66</c:v>
                </c:pt>
                <c:pt idx="4">
                  <c:v>3.48</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2.2</a:t>
                    </a:r>
                  </a:p>
                </c:rich>
              </c:tx>
              <c:showLegendKey val="0"/>
              <c:showVal val="1"/>
              <c:showCatName val="0"/>
              <c:showSerName val="0"/>
              <c:showPercent val="0"/>
              <c:showBubbleSize val="0"/>
            </c:dLbl>
            <c:dLbl>
              <c:idx val="4"/>
              <c:tx>
                <c:rich>
                  <a:bodyPr/>
                  <a:lstStyle/>
                  <a:p>
                    <a:r>
                      <a:t>2.47</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3.67</c:v>
                </c:pt>
                <c:pt idx="3">
                  <c:v>2.2</c:v>
                </c:pt>
                <c:pt idx="4">
                  <c:v>2.47</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92</c:v>
                </c:pt>
                <c:pt idx="1">
                  <c:v>5.21</c:v>
                </c:pt>
                <c:pt idx="2">
                  <c:v>2.25</c:v>
                </c:pt>
                <c:pt idx="3">
                  <c:v>2.42</c:v>
                </c:pt>
                <c:pt idx="4">
                  <c:v>3.62</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4.86</c:v>
                </c:pt>
                <c:pt idx="1">
                  <c:v>4.03</c:v>
                </c:pt>
                <c:pt idx="2">
                  <c:v>2.65</c:v>
                </c:pt>
                <c:pt idx="3">
                  <c:v>3.03</c:v>
                </c:pt>
                <c:pt idx="4">
                  <c:v>2.49</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7</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1.86</a:t>
                    </a:r>
                  </a:p>
                </c:rich>
              </c:tx>
              <c:dLblPos val="t"/>
              <c:showLegendKey val="0"/>
              <c:showVal val="1"/>
              <c:showCatName val="0"/>
              <c:showSerName val="0"/>
              <c:showPercent val="0"/>
              <c:showBubbleSize val="0"/>
            </c:dLbl>
            <c:dLbl>
              <c:idx val="6"/>
              <c:tx>
                <c:rich>
                  <a:bodyPr/>
                  <a:lstStyle/>
                  <a:p>
                    <a:r>
                      <a:t>2.55</a:t>
                    </a:r>
                  </a:p>
                </c:rich>
              </c:tx>
              <c:dLblPos val="t"/>
              <c:showLegendKey val="0"/>
              <c:showVal val="1"/>
              <c:showCatName val="0"/>
              <c:showSerName val="0"/>
              <c:showPercent val="0"/>
              <c:showBubbleSize val="0"/>
            </c:dLbl>
            <c:dLbl>
              <c:idx val="7"/>
              <c:tx>
                <c:rich>
                  <a:bodyPr/>
                  <a:lstStyle/>
                  <a:p>
                    <a:r>
                      <a:t>2.48</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93</a:t>
                    </a:r>
                  </a:p>
                </c:rich>
              </c:tx>
              <c:dLblPos val="t"/>
              <c:showLegendKey val="0"/>
              <c:showVal val="1"/>
              <c:showCatName val="0"/>
              <c:showSerName val="0"/>
              <c:showPercent val="0"/>
              <c:showBubbleSize val="0"/>
            </c:dLbl>
            <c:dLbl>
              <c:idx val="10"/>
              <c:tx>
                <c:rich>
                  <a:bodyPr/>
                  <a:lstStyle/>
                  <a:p>
                    <a:r>
                      <a:t>2.38</a:t>
                    </a:r>
                  </a:p>
                </c:rich>
              </c:tx>
              <c:dLblPos val="t"/>
              <c:showLegendKey val="0"/>
              <c:showVal val="1"/>
              <c:showCatName val="0"/>
              <c:showSerName val="0"/>
              <c:showPercent val="0"/>
              <c:showBubbleSize val="0"/>
            </c:dLbl>
            <c:dLbl>
              <c:idx val="11"/>
              <c:tx>
                <c:rich>
                  <a:bodyPr/>
                  <a:lstStyle/>
                  <a:p>
                    <a:r>
                      <a:t>2.77</a:t>
                    </a:r>
                  </a:p>
                </c:rich>
              </c:tx>
              <c:dLblPos val="t"/>
              <c:showLegendKey val="0"/>
              <c:showVal val="1"/>
              <c:showCatName val="0"/>
              <c:showSerName val="0"/>
              <c:showPercent val="0"/>
              <c:showBubbleSize val="0"/>
            </c:dLbl>
            <c:dLbl>
              <c:idx val="12"/>
              <c:tx>
                <c:rich>
                  <a:bodyPr/>
                  <a:lstStyle/>
                  <a:p>
                    <a:r>
                      <a:t>3.67</a:t>
                    </a:r>
                  </a:p>
                </c:rich>
              </c:tx>
              <c:dLblPos val="t"/>
              <c:showLegendKey val="0"/>
              <c:showVal val="1"/>
              <c:showCatName val="0"/>
              <c:showSerName val="0"/>
              <c:showPercent val="0"/>
              <c:showBubbleSize val="0"/>
            </c:dLbl>
            <c:dLbl>
              <c:idx val="13"/>
              <c:tx>
                <c:rich>
                  <a:bodyPr/>
                  <a:lstStyle/>
                  <a:p>
                    <a:r>
                      <a:t>3.76</a:t>
                    </a:r>
                  </a:p>
                </c:rich>
              </c:tx>
              <c:dLblPos val="t"/>
              <c:showLegendKey val="0"/>
              <c:showVal val="1"/>
              <c:showCatName val="0"/>
              <c:showSerName val="0"/>
              <c:showPercent val="0"/>
              <c:showBubbleSize val="0"/>
            </c:dLbl>
            <c:dLbl>
              <c:idx val="14"/>
              <c:tx>
                <c:rich>
                  <a:bodyPr/>
                  <a:lstStyle/>
                  <a:p>
                    <a:r>
                      <a:t>3.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3.53</c:v>
                </c:pt>
                <c:pt idx="1">
                  <c:v>2.51</c:v>
                </c:pt>
                <c:pt idx="2">
                  <c:v>2.2</c:v>
                </c:pt>
                <c:pt idx="3">
                  <c:v>2.47</c:v>
                </c:pt>
                <c:pt idx="4">
                  <c:v>2.44</c:v>
                </c:pt>
                <c:pt idx="5">
                  <c:v>1.86</c:v>
                </c:pt>
                <c:pt idx="6">
                  <c:v>2.55</c:v>
                </c:pt>
                <c:pt idx="7">
                  <c:v>2.48</c:v>
                </c:pt>
                <c:pt idx="8">
                  <c:v>2.46</c:v>
                </c:pt>
                <c:pt idx="9">
                  <c:v>3.93</c:v>
                </c:pt>
                <c:pt idx="10">
                  <c:v>2.38</c:v>
                </c:pt>
                <c:pt idx="11">
                  <c:v>2.77</c:v>
                </c:pt>
                <c:pt idx="12">
                  <c:v>3.67</c:v>
                </c:pt>
                <c:pt idx="13">
                  <c:v>3.76</c:v>
                </c:pt>
                <c:pt idx="14">
                  <c:v>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9</a:t>
                    </a:r>
                  </a:p>
                </c:rich>
              </c:tx>
              <c:showLegendKey val="0"/>
              <c:showVal val="1"/>
              <c:showCatName val="0"/>
              <c:showSerName val="0"/>
              <c:showPercent val="0"/>
              <c:showBubbleSize val="0"/>
            </c:dLbl>
            <c:dLbl>
              <c:idx val="4"/>
              <c:tx>
                <c:rich>
                  <a:bodyPr/>
                  <a:lstStyle/>
                  <a:p>
                    <a:r>
                      <a:t>2.46</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27</c:v>
                </c:pt>
                <c:pt idx="1">
                  <c:v>2.53</c:v>
                </c:pt>
                <c:pt idx="2">
                  <c:v>2.41</c:v>
                </c:pt>
                <c:pt idx="3">
                  <c:v>3.49</c:v>
                </c:pt>
                <c:pt idx="4">
                  <c:v>2.46</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48</a:t>
                    </a:r>
                  </a:p>
                </c:rich>
              </c:tx>
              <c:showLegendKey val="0"/>
              <c:showVal val="1"/>
              <c:showCatName val="0"/>
              <c:showSerName val="0"/>
              <c:showPercent val="0"/>
              <c:showBubbleSize val="0"/>
            </c:dLbl>
            <c:dLbl>
              <c:idx val="4"/>
              <c:tx>
                <c:rich>
                  <a:bodyPr/>
                  <a:lstStyle/>
                  <a:p>
                    <a:r>
                      <a:t>1.7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48</c:v>
                </c:pt>
                <c:pt idx="4">
                  <c:v>1.7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7</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2.2</c:v>
                </c:pt>
                <c:pt idx="3">
                  <c:v>2.47</c:v>
                </c:pt>
                <c:pt idx="4">
                  <c:v>2.44</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dLbl>
              <c:idx val="2"/>
              <c:tx>
                <c:rich>
                  <a:bodyPr/>
                  <a:lstStyle/>
                  <a:p>
                    <a:r>
                      <a:t>3.66</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dLbl>
              <c:idx val="5"/>
              <c:tx>
                <c:rich>
                  <a:bodyPr/>
                  <a:lstStyle/>
                  <a:p>
                    <a:r>
                      <a:t>4.37</a:t>
                    </a:r>
                  </a:p>
                </c:rich>
              </c:tx>
              <c:showLegendKey val="0"/>
              <c:showVal val="1"/>
              <c:showCatName val="0"/>
              <c:showSerName val="0"/>
              <c:showPercent val="0"/>
              <c:showBubbleSize val="0"/>
            </c:dLbl>
            <c:dLbl>
              <c:idx val="6"/>
              <c:tx>
                <c:rich>
                  <a:bodyPr/>
                  <a:lstStyle/>
                  <a:p>
                    <a:r>
                      <a:t>4.39</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4.41</a:t>
                    </a:r>
                  </a:p>
                </c:rich>
              </c:tx>
              <c:showLegendKey val="0"/>
              <c:showVal val="1"/>
              <c:showCatName val="0"/>
              <c:showSerName val="0"/>
              <c:showPercent val="0"/>
              <c:showBubbleSize val="0"/>
            </c:dLbl>
            <c:dLbl>
              <c:idx val="9"/>
              <c:tx>
                <c:rich>
                  <a:bodyPr/>
                  <a:lstStyle/>
                  <a:p>
                    <a:r>
                      <a:t>2.23</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2.33</a:t>
                    </a:r>
                  </a:p>
                </c:rich>
              </c:tx>
              <c:showLegendKey val="0"/>
              <c:showVal val="1"/>
              <c:showCatName val="0"/>
              <c:showSerName val="0"/>
              <c:showPercent val="0"/>
              <c:showBubbleSize val="0"/>
            </c:dLbl>
            <c:dLbl>
              <c:idx val="15"/>
              <c:tx>
                <c:rich>
                  <a:bodyPr/>
                  <a:lstStyle/>
                  <a:p>
                    <a:r>
                      <a:t>7.64</a:t>
                    </a:r>
                  </a:p>
                </c:rich>
              </c:tx>
              <c:showLegendKey val="0"/>
              <c:showVal val="1"/>
              <c:showCatName val="0"/>
              <c:showSerName val="0"/>
              <c:showPercent val="0"/>
              <c:showBubbleSize val="0"/>
            </c:dLbl>
            <c:dLbl>
              <c:idx val="16"/>
              <c:tx>
                <c:rich>
                  <a:bodyPr/>
                  <a:lstStyle/>
                  <a:p>
                    <a:r>
                      <a:t>7.55</a:t>
                    </a:r>
                  </a:p>
                </c:rich>
              </c:tx>
              <c:showLegendKey val="0"/>
              <c:showVal val="1"/>
              <c:showCatName val="0"/>
              <c:showSerName val="0"/>
              <c:showPercent val="0"/>
              <c:showBubbleSize val="0"/>
            </c:dLbl>
            <c:dLbl>
              <c:idx val="17"/>
              <c:tx>
                <c:rich>
                  <a:bodyPr/>
                  <a:lstStyle/>
                  <a:p>
                    <a:r>
                      <a:t>3.51</a:t>
                    </a:r>
                  </a:p>
                </c:rich>
              </c:tx>
              <c:showLegendKey val="0"/>
              <c:showVal val="1"/>
              <c:showCatName val="0"/>
              <c:showSerName val="0"/>
              <c:showPercent val="0"/>
              <c:showBubbleSize val="0"/>
            </c:dLbl>
            <c:dLbl>
              <c:idx val="18"/>
              <c:tx>
                <c:rich>
                  <a:bodyPr/>
                  <a:lstStyle/>
                  <a:p>
                    <a:r>
                      <a:t>6.57</a:t>
                    </a:r>
                  </a:p>
                </c:rich>
              </c:tx>
              <c:showLegendKey val="0"/>
              <c:showVal val="1"/>
              <c:showCatName val="0"/>
              <c:showSerName val="0"/>
              <c:showPercent val="0"/>
              <c:showBubbleSize val="0"/>
            </c:dLbl>
            <c:dLbl>
              <c:idx val="19"/>
              <c:tx>
                <c:rich>
                  <a:bodyPr/>
                  <a:lstStyle/>
                  <a:p>
                    <a:r>
                      <a:t>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Nature Fromage Fondu Cube 1X125Gr 24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pt idx="15">
                  <c:v>O'Tapas Apero Les Roules Du Fromager Fromage Frais Roule Assortis Boite 1X245Gr 35P</c:v>
                </c:pt>
                <c:pt idx="16">
                  <c:v>O'Tapas Apero Plaisirs Du Fromager Fromage Frais Bouchee Assortis Boite 1X240Gr 35P</c:v>
                </c:pt>
                <c:pt idx="17">
                  <c:v>O'Tapas Apero Les Roules Du Fromager Fromage Frais Roule Assortis Boite 1X112Gr 16P</c:v>
                </c:pt>
                <c:pt idx="18">
                  <c:v>O'Tapas Apero Les Brochettes Fromage Frais Brochette Tomate Et Abricot Boite 1X200Gr 22P</c:v>
                </c:pt>
                <c:pt idx="19">
                  <c:v>O'Tapas Apero Tapas Du Fromager Fromage Frais Bouchee Assortis Boite 1X110Gr 16P</c:v>
                </c:pt>
              </c:strCache>
            </c:strRef>
          </c:cat>
          <c:val>
            <c:numRef>
              <c:f>Sheet1!$B$2:$B$21</c:f>
              <c:numCache>
                <c:formatCode>General</c:formatCode>
                <c:ptCount val="20"/>
                <c:pt idx="0">
                  <c:v>3.62</c:v>
                </c:pt>
                <c:pt idx="1">
                  <c:v>3.6</c:v>
                </c:pt>
                <c:pt idx="2">
                  <c:v>3.66</c:v>
                </c:pt>
                <c:pt idx="3">
                  <c:v>3.76</c:v>
                </c:pt>
                <c:pt idx="4">
                  <c:v>3.34</c:v>
                </c:pt>
                <c:pt idx="5">
                  <c:v>4.37</c:v>
                </c:pt>
                <c:pt idx="6">
                  <c:v>4.39</c:v>
                </c:pt>
                <c:pt idx="7">
                  <c:v>4.76</c:v>
                </c:pt>
                <c:pt idx="8">
                  <c:v>4.41</c:v>
                </c:pt>
                <c:pt idx="9">
                  <c:v>2.23</c:v>
                </c:pt>
                <c:pt idx="10">
                  <c:v>2.2</c:v>
                </c:pt>
                <c:pt idx="11">
                  <c:v>2.18</c:v>
                </c:pt>
                <c:pt idx="12">
                  <c:v>2.22</c:v>
                </c:pt>
                <c:pt idx="13">
                  <c:v>2.24</c:v>
                </c:pt>
                <c:pt idx="14">
                  <c:v>2.33</c:v>
                </c:pt>
                <c:pt idx="15">
                  <c:v>7.64</c:v>
                </c:pt>
                <c:pt idx="16">
                  <c:v>7.55</c:v>
                </c:pt>
                <c:pt idx="17">
                  <c:v>3.51</c:v>
                </c:pt>
                <c:pt idx="18">
                  <c:v>6.57</c:v>
                </c:pt>
                <c:pt idx="19">
                  <c:v>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showLegendKey val="0"/>
              <c:showVal val="1"/>
              <c:showCatName val="0"/>
              <c:showSerName val="0"/>
              <c:showPercent val="0"/>
              <c:showBubbleSize val="0"/>
            </c:dLbl>
            <c:dLbl>
              <c:idx val="1"/>
              <c:tx>
                <c:rich>
                  <a:bodyPr/>
                  <a:lstStyle/>
                  <a:p>
                    <a:r>
                      <a:t>3.55</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4.56</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dLbl>
              <c:idx val="5"/>
              <c:tx>
                <c:rich>
                  <a:bodyPr/>
                  <a:lstStyle/>
                  <a:p>
                    <a:r>
                      <a:t>4.73</a:t>
                    </a:r>
                  </a:p>
                </c:rich>
              </c:tx>
              <c:showLegendKey val="0"/>
              <c:showVal val="1"/>
              <c:showCatName val="0"/>
              <c:showSerName val="0"/>
              <c:showPercent val="0"/>
              <c:showBubbleSize val="0"/>
            </c:dLbl>
            <c:dLbl>
              <c:idx val="6"/>
              <c:tx>
                <c:rich>
                  <a:bodyPr/>
                  <a:lstStyle/>
                  <a:p>
                    <a:r>
                      <a:t>4.46</a:t>
                    </a:r>
                  </a:p>
                </c:rich>
              </c:tx>
              <c:showLegendKey val="0"/>
              <c:showVal val="1"/>
              <c:showCatName val="0"/>
              <c:showSerName val="0"/>
              <c:showPercent val="0"/>
              <c:showBubbleSize val="0"/>
            </c:dLbl>
            <c:dLbl>
              <c:idx val="7"/>
              <c:tx>
                <c:rich>
                  <a:bodyPr/>
                  <a:lstStyle/>
                  <a:p>
                    <a:r>
                      <a:t>2.17</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9</a:t>
                    </a:r>
                  </a:p>
                </c:rich>
              </c:tx>
              <c:showLegendKey val="0"/>
              <c:showVal val="1"/>
              <c:showCatName val="0"/>
              <c:showSerName val="0"/>
              <c:showPercent val="0"/>
              <c:showBubbleSize val="0"/>
            </c:dLbl>
            <c:dLbl>
              <c:idx val="10"/>
              <c:tx>
                <c:rich>
                  <a:bodyPr/>
                  <a:lstStyle/>
                  <a:p>
                    <a:r>
                      <a:t>2.12</a:t>
                    </a:r>
                  </a:p>
                </c:rich>
              </c:tx>
              <c:showLegendKey val="0"/>
              <c:showVal val="1"/>
              <c:showCatName val="0"/>
              <c:showSerName val="0"/>
              <c:showPercent val="0"/>
              <c:showBubbleSize val="0"/>
            </c:dLbl>
            <c:dLbl>
              <c:idx val="11"/>
              <c:tx>
                <c:rich>
                  <a:bodyPr/>
                  <a:lstStyle/>
                  <a:p>
                    <a:r>
                      <a:t>2.16</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8.03</a:t>
                    </a:r>
                  </a:p>
                </c:rich>
              </c:tx>
              <c:showLegendKey val="0"/>
              <c:showVal val="1"/>
              <c:showCatName val="0"/>
              <c:showSerName val="0"/>
              <c:showPercent val="0"/>
              <c:showBubbleSize val="0"/>
            </c:dLbl>
            <c:dLbl>
              <c:idx val="14"/>
              <c:tx>
                <c:rich>
                  <a:bodyPr/>
                  <a:lstStyle/>
                  <a:p>
                    <a:r>
                      <a:t>3.76</a:t>
                    </a:r>
                  </a:p>
                </c:rich>
              </c:tx>
              <c:showLegendKey val="0"/>
              <c:showVal val="1"/>
              <c:showCatName val="0"/>
              <c:showSerName val="0"/>
              <c:showPercent val="0"/>
              <c:showBubbleSize val="0"/>
            </c:dLbl>
            <c:dLbl>
              <c:idx val="15"/>
              <c:tx>
                <c:rich>
                  <a:bodyPr/>
                  <a:lstStyle/>
                  <a:p>
                    <a:r>
                      <a:t>8.34</a:t>
                    </a:r>
                  </a:p>
                </c:rich>
              </c:tx>
              <c:showLegendKey val="0"/>
              <c:showVal val="1"/>
              <c:showCatName val="0"/>
              <c:showSerName val="0"/>
              <c:showPercent val="0"/>
              <c:showBubbleSize val="0"/>
            </c:dLbl>
            <c:dLbl>
              <c:idx val="16"/>
              <c:tx>
                <c:rich>
                  <a:bodyPr/>
                  <a:lstStyle/>
                  <a:p>
                    <a:r>
                      <a:t>6.81</a:t>
                    </a:r>
                  </a:p>
                </c:rich>
              </c:tx>
              <c:showLegendKey val="0"/>
              <c:showVal val="1"/>
              <c:showCatName val="0"/>
              <c:showSerName val="0"/>
              <c:showPercent val="0"/>
              <c:showBubbleSize val="0"/>
            </c:dLbl>
            <c:dLbl>
              <c:idx val="17"/>
              <c:tx>
                <c:rich>
                  <a:bodyPr/>
                  <a:lstStyle/>
                  <a:p>
                    <a:r>
                      <a:t>4.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Apericube Edition Limitee Best Of Foot Fromage Fondu Cube Assortis 1X250Gr 48P</c:v>
                </c:pt>
                <c:pt idx="4">
                  <c:v>Apericube Cocktail Fromage Fondu Cube Assortis 1X250Gr 48P</c:v>
                </c:pt>
                <c:pt idx="5">
                  <c:v>Apericube Long Drink Fromage Fondu Cube Assortis 1X250Gr 48P</c:v>
                </c:pt>
                <c:pt idx="6">
                  <c:v>Apericube Tonic Fromage Fondu Cube Assortis 1X250Gr 48P</c:v>
                </c:pt>
                <c:pt idx="7">
                  <c:v>Apericube Nature Fromage Fondu Cube 1X125Gr 24P</c:v>
                </c:pt>
                <c:pt idx="8">
                  <c:v>Aperivrais Saveurs De Provence Fromage Frais Bouchee Assortis 1X100Gr 20P</c:v>
                </c:pt>
                <c:pt idx="9">
                  <c:v>Aperivrais Saveurs D'Italie Fromage Frais Bouchee Epice Herbe Et Oignon 1X100Gr 20P</c:v>
                </c:pt>
                <c:pt idx="10">
                  <c:v>Aperivrais Ail Et Fines Herbes Fromage Frais Bouchee Afh 1X100Gr 20P</c:v>
                </c:pt>
                <c:pt idx="11">
                  <c:v>Aperivrais Edition Limitee Saison Fromage Frais Bouchee Assortis 1X100Gr 20P</c:v>
                </c:pt>
                <c:pt idx="12">
                  <c:v>Aperivrais Saint Agur Fromage Frais Bouchee 1X100Gr 20P</c:v>
                </c:pt>
                <c:pt idx="13">
                  <c:v>O'Tapas Apero Les Roules Du Fromager Fromage Frais Roule Assortis Boite 1X245Gr 35P</c:v>
                </c:pt>
                <c:pt idx="14">
                  <c:v>O'Tapas Apero Les Roules Du Fromager Fromage Frais Roule Assortis Boite 1X112Gr 16P</c:v>
                </c:pt>
                <c:pt idx="15">
                  <c:v>O'Tapas Apero Plaisirs Du Fromager Fromage Frais Bouchee Assortis Boite 1X240Gr 35P</c:v>
                </c:pt>
                <c:pt idx="16">
                  <c:v>O'Tapas Apero Les Brochettes Fromage Frais Brochette Tomate Et Abricot Boite 1X200Gr 22P</c:v>
                </c:pt>
                <c:pt idx="17">
                  <c:v>O'Tapas Apero Tapas Du Fromager Fromage Frais Bouchee Assortis Boite 1X110Gr 16P</c:v>
                </c:pt>
              </c:strCache>
            </c:strRef>
          </c:cat>
          <c:val>
            <c:numRef>
              <c:f>Sheet1!$B$2:$B$19</c:f>
              <c:numCache>
                <c:formatCode>General</c:formatCode>
                <c:ptCount val="18"/>
                <c:pt idx="0">
                  <c:v>3.66</c:v>
                </c:pt>
                <c:pt idx="1">
                  <c:v>3.55</c:v>
                </c:pt>
                <c:pt idx="2">
                  <c:v>3.8</c:v>
                </c:pt>
                <c:pt idx="3">
                  <c:v>4.56</c:v>
                </c:pt>
                <c:pt idx="4">
                  <c:v>4.51</c:v>
                </c:pt>
                <c:pt idx="5">
                  <c:v>4.73</c:v>
                </c:pt>
                <c:pt idx="6">
                  <c:v>4.46</c:v>
                </c:pt>
                <c:pt idx="7">
                  <c:v>2.17</c:v>
                </c:pt>
                <c:pt idx="8">
                  <c:v>2.34</c:v>
                </c:pt>
                <c:pt idx="9">
                  <c:v>2.29</c:v>
                </c:pt>
                <c:pt idx="10">
                  <c:v>2.12</c:v>
                </c:pt>
                <c:pt idx="11">
                  <c:v>2.16</c:v>
                </c:pt>
                <c:pt idx="12">
                  <c:v>2.22</c:v>
                </c:pt>
                <c:pt idx="13">
                  <c:v>8.03</c:v>
                </c:pt>
                <c:pt idx="14">
                  <c:v>3.76</c:v>
                </c:pt>
                <c:pt idx="15">
                  <c:v>8.34</c:v>
                </c:pt>
                <c:pt idx="16">
                  <c:v>6.81</c:v>
                </c:pt>
                <c:pt idx="17">
                  <c:v>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77</a:t>
                    </a:r>
                  </a:p>
                </c:rich>
              </c:tx>
              <c:showLegendKey val="0"/>
              <c:showVal val="1"/>
              <c:showCatName val="0"/>
              <c:showSerName val="0"/>
              <c:showPercent val="0"/>
              <c:showBubbleSize val="0"/>
            </c:dLbl>
            <c:dLbl>
              <c:idx val="3"/>
              <c:tx>
                <c:rich>
                  <a:bodyPr/>
                  <a:lstStyle/>
                  <a:p>
                    <a:r>
                      <a:t>3.31</a:t>
                    </a:r>
                  </a:p>
                </c:rich>
              </c:tx>
              <c:showLegendKey val="0"/>
              <c:showVal val="1"/>
              <c:showCatName val="0"/>
              <c:showSerName val="0"/>
              <c:showPercent val="0"/>
              <c:showBubbleSize val="0"/>
            </c:dLbl>
            <c:dLbl>
              <c:idx val="4"/>
              <c:tx>
                <c:rich>
                  <a:bodyPr/>
                  <a:lstStyle/>
                  <a:p>
                    <a:r>
                      <a:t>3.13</a:t>
                    </a:r>
                  </a:p>
                </c:rich>
              </c:tx>
              <c:showLegendKey val="0"/>
              <c:showVal val="1"/>
              <c:showCatName val="0"/>
              <c:showSerName val="0"/>
              <c:showPercent val="0"/>
              <c:showBubbleSize val="0"/>
            </c:dLbl>
            <c:dLbl>
              <c:idx val="5"/>
              <c:tx>
                <c:rich>
                  <a:bodyPr/>
                  <a:lstStyle/>
                  <a:p>
                    <a:r>
                      <a:t>4.32</a:t>
                    </a:r>
                  </a:p>
                </c:rich>
              </c:tx>
              <c:showLegendKey val="0"/>
              <c:showVal val="1"/>
              <c:showCatName val="0"/>
              <c:showSerName val="0"/>
              <c:showPercent val="0"/>
              <c:showBubbleSize val="0"/>
            </c:dLbl>
            <c:dLbl>
              <c:idx val="6"/>
              <c:tx>
                <c:rich>
                  <a:bodyPr/>
                  <a:lstStyle/>
                  <a:p>
                    <a:r>
                      <a:t>4.49</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4.53</a:t>
                    </a:r>
                  </a:p>
                </c:rich>
              </c:tx>
              <c:showLegendKey val="0"/>
              <c:showVal val="1"/>
              <c:showCatName val="0"/>
              <c:showSerName val="0"/>
              <c:showPercent val="0"/>
              <c:showBubbleSize val="0"/>
            </c:dLbl>
            <c:dLbl>
              <c:idx val="9"/>
              <c:tx>
                <c:rich>
                  <a:bodyPr/>
                  <a:lstStyle/>
                  <a:p>
                    <a:r>
                      <a:t>4.71</a:t>
                    </a:r>
                  </a:p>
                </c:rich>
              </c:tx>
              <c:showLegendKey val="0"/>
              <c:showVal val="1"/>
              <c:showCatName val="0"/>
              <c:showSerName val="0"/>
              <c:showPercent val="0"/>
              <c:showBubbleSize val="0"/>
            </c:dLbl>
            <c:dLbl>
              <c:idx val="10"/>
              <c:tx>
                <c:rich>
                  <a:bodyPr/>
                  <a:lstStyle/>
                  <a:p>
                    <a:r>
                      <a:t>2.16</a:t>
                    </a:r>
                  </a:p>
                </c:rich>
              </c:tx>
              <c:showLegendKey val="0"/>
              <c:showVal val="1"/>
              <c:showCatName val="0"/>
              <c:showSerName val="0"/>
              <c:showPercent val="0"/>
              <c:showBubbleSize val="0"/>
            </c:dLbl>
            <c:dLbl>
              <c:idx val="11"/>
              <c:tx>
                <c:rich>
                  <a:bodyPr/>
                  <a:lstStyle/>
                  <a:p>
                    <a:r>
                      <a:t>2.17</a:t>
                    </a:r>
                  </a:p>
                </c:rich>
              </c:tx>
              <c:showLegendKey val="0"/>
              <c:showVal val="1"/>
              <c:showCatName val="0"/>
              <c:showSerName val="0"/>
              <c:showPercent val="0"/>
              <c:showBubbleSize val="0"/>
            </c:dLbl>
            <c:dLbl>
              <c:idx val="12"/>
              <c:tx>
                <c:rich>
                  <a:bodyPr/>
                  <a:lstStyle/>
                  <a:p>
                    <a:r>
                      <a:t>2.29</a:t>
                    </a:r>
                  </a:p>
                </c:rich>
              </c:tx>
              <c:showLegendKey val="0"/>
              <c:showVal val="1"/>
              <c:showCatName val="0"/>
              <c:showSerName val="0"/>
              <c:showPercent val="0"/>
              <c:showBubbleSize val="0"/>
            </c:dLbl>
            <c:dLbl>
              <c:idx val="13"/>
              <c:tx>
                <c:rich>
                  <a:bodyPr/>
                  <a:lstStyle/>
                  <a:p>
                    <a:r>
                      <a:t>2.29</a:t>
                    </a:r>
                  </a:p>
                </c:rich>
              </c:tx>
              <c:showLegendKey val="0"/>
              <c:showVal val="1"/>
              <c:showCatName val="0"/>
              <c:showSerName val="0"/>
              <c:showPercent val="0"/>
              <c:showBubbleSize val="0"/>
            </c:dLbl>
            <c:dLbl>
              <c:idx val="14"/>
              <c:tx>
                <c:rich>
                  <a:bodyPr/>
                  <a:lstStyle/>
                  <a:p>
                    <a:r>
                      <a:t>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Edition Voyage Fromage Fondu Cube Assortis 1X250Gr 48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strCache>
            </c:strRef>
          </c:cat>
          <c:val>
            <c:numRef>
              <c:f>Sheet1!$B$2:$B$16</c:f>
              <c:numCache>
                <c:formatCode>General</c:formatCode>
                <c:ptCount val="15"/>
                <c:pt idx="0">
                  <c:v>3.67</c:v>
                </c:pt>
                <c:pt idx="1">
                  <c:v>3.76</c:v>
                </c:pt>
                <c:pt idx="2">
                  <c:v>3.77</c:v>
                </c:pt>
                <c:pt idx="3">
                  <c:v>3.31</c:v>
                </c:pt>
                <c:pt idx="4">
                  <c:v>3.13</c:v>
                </c:pt>
                <c:pt idx="5">
                  <c:v>4.32</c:v>
                </c:pt>
                <c:pt idx="6">
                  <c:v>4.49</c:v>
                </c:pt>
                <c:pt idx="7">
                  <c:v>4.94</c:v>
                </c:pt>
                <c:pt idx="8">
                  <c:v>4.53</c:v>
                </c:pt>
                <c:pt idx="9">
                  <c:v>4.71</c:v>
                </c:pt>
                <c:pt idx="10">
                  <c:v>2.16</c:v>
                </c:pt>
                <c:pt idx="11">
                  <c:v>2.17</c:v>
                </c:pt>
                <c:pt idx="12">
                  <c:v>2.29</c:v>
                </c:pt>
                <c:pt idx="13">
                  <c:v>2.29</c:v>
                </c:pt>
                <c:pt idx="14">
                  <c:v>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85514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369316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2601903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616964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936145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534152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07676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2815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9215128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847786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392405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75618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758051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35106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25485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977402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209290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Basilic &amp; Huil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uile &amp; Romarin Tomat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071936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9928224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4082300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96188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3392937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81772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92190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7040099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6099045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3652834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44970337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027325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9638644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05937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0344209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572953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30209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6149224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6110867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5806196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9278965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8544441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7368377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384682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5886805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6066283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935564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9053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90569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60096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34200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1247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4518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23837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0955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1625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5258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85379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320Gr 16+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62868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04892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24984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69402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23504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642754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75598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833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21082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4012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0641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55768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9822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26541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64575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45638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4484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090023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Poivre Noir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24924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492731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52346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961389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41077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632705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332313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28547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37056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1769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74583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21915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22990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71082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15773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72437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68150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57227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23618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harcut' Fromages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74184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4659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489719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267297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092811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75660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90590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190076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757455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078027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Std Queso De Cabra / Iberico Manchego Boite 1X150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5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478141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35203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09946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715056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780838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914501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52856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6111400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rre Frais Fromage A Tartiner 1X20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64284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059957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027296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699272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30720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6421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4624597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3195046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832078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40897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084681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81951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216758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0273302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349950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4605768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1212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44086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900260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03243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94431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110581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5638223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9062732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41763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514872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596287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8650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5396</Words>
  <Application>Microsoft Office PowerPoint</Application>
  <PresentationFormat>On-screen Show (16:9)</PresentationFormat>
  <Paragraphs>6978</Paragraphs>
  <Slides>13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8</vt:i4>
      </vt:variant>
    </vt:vector>
  </HeadingPairs>
  <TitlesOfParts>
    <vt:vector size="147"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4T09:0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